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media/image10.jpg" ContentType="image/jpg"/>
  <Override PartName="/ppt/media/image11.jpg" ContentType="image/jpg"/>
  <Override PartName="/ppt/media/image13.jpg" ContentType="image/jpg"/>
  <Override PartName="/ppt/notesSlides/notesSlide2.xml" ContentType="application/vnd.openxmlformats-officedocument.presentationml.notesSlide+xml"/>
  <Override PartName="/ppt/media/image14.jpg" ContentType="image/jpg"/>
  <Override PartName="/ppt/media/image15.jpg" ContentType="image/jpg"/>
  <Override PartName="/ppt/media/image16.jpg" ContentType="image/jpg"/>
  <Override PartName="/ppt/media/image17.jpg" ContentType="image/jpg"/>
  <Override PartName="/ppt/media/image18.jpg" ContentType="image/jpg"/>
  <Override PartName="/ppt/media/image19.jpg" ContentType="image/jpg"/>
  <Override PartName="/ppt/media/image20.jpg" ContentType="image/jpg"/>
  <Override PartName="/ppt/media/image21.jpg" ContentType="image/jpg"/>
  <Override PartName="/ppt/media/image22.jpg" ContentType="image/jpg"/>
  <Override PartName="/ppt/media/image23.jpg" ContentType="image/jpg"/>
  <Override PartName="/ppt/media/image24.jpg" ContentType="image/jpg"/>
  <Override PartName="/ppt/media/image39.jpg" ContentType="image/jpg"/>
  <Override PartName="/ppt/media/image42.jpg" ContentType="image/jpg"/>
  <Override PartName="/ppt/media/image43.jpg" ContentType="image/jpg"/>
  <Override PartName="/ppt/media/image62.jpg" ContentType="image/jpg"/>
  <Override PartName="/ppt/media/image63.jpg" ContentType="image/jpg"/>
  <Override PartName="/ppt/media/image64.jpg" ContentType="image/jpg"/>
  <Override PartName="/ppt/media/image66.jpg" ContentType="image/jpg"/>
  <Override PartName="/ppt/media/image80.jpg" ContentType="image/jpg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media/image92.jpg" ContentType="image/jpg"/>
  <Override PartName="/ppt/media/image93.jpg" ContentType="image/jpg"/>
  <Override PartName="/ppt/media/image94.jpg" ContentType="image/jpg"/>
  <Override PartName="/ppt/media/image95.jpg" ContentType="image/jpg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media/image109.jpg" ContentType="image/jpg"/>
  <Override PartName="/ppt/media/image116.jpg" ContentType="image/jpg"/>
  <Override PartName="/ppt/media/image120.jpg" ContentType="image/jpg"/>
  <Override PartName="/ppt/media/image121.jpg" ContentType="image/jpg"/>
  <Override PartName="/ppt/media/image122.jpg" ContentType="image/jpg"/>
  <Override PartName="/ppt/media/image123.jpg" ContentType="image/jpg"/>
  <Override PartName="/ppt/media/image124.jpg" ContentType="image/jpg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media/image178.jpg" ContentType="image/jpg"/>
  <Override PartName="/ppt/notesSlides/notesSlide14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4"/>
  </p:sldMasterIdLst>
  <p:notesMasterIdLst>
    <p:notesMasterId r:id="rId92"/>
  </p:notesMasterIdLst>
  <p:handoutMasterIdLst>
    <p:handoutMasterId r:id="rId93"/>
  </p:handoutMasterIdLst>
  <p:sldIdLst>
    <p:sldId id="322" r:id="rId5"/>
    <p:sldId id="492" r:id="rId6"/>
    <p:sldId id="698" r:id="rId7"/>
    <p:sldId id="697" r:id="rId8"/>
    <p:sldId id="699" r:id="rId9"/>
    <p:sldId id="700" r:id="rId10"/>
    <p:sldId id="701" r:id="rId11"/>
    <p:sldId id="702" r:id="rId12"/>
    <p:sldId id="703" r:id="rId13"/>
    <p:sldId id="704" r:id="rId14"/>
    <p:sldId id="705" r:id="rId15"/>
    <p:sldId id="706" r:id="rId16"/>
    <p:sldId id="707" r:id="rId17"/>
    <p:sldId id="494" r:id="rId18"/>
    <p:sldId id="488" r:id="rId19"/>
    <p:sldId id="391" r:id="rId20"/>
    <p:sldId id="392" r:id="rId21"/>
    <p:sldId id="393" r:id="rId22"/>
    <p:sldId id="395" r:id="rId23"/>
    <p:sldId id="396" r:id="rId24"/>
    <p:sldId id="345" r:id="rId25"/>
    <p:sldId id="487" r:id="rId26"/>
    <p:sldId id="721" r:id="rId27"/>
    <p:sldId id="495" r:id="rId28"/>
    <p:sldId id="730" r:id="rId29"/>
    <p:sldId id="724" r:id="rId30"/>
    <p:sldId id="719" r:id="rId31"/>
    <p:sldId id="732" r:id="rId32"/>
    <p:sldId id="493" r:id="rId33"/>
    <p:sldId id="726" r:id="rId34"/>
    <p:sldId id="497" r:id="rId35"/>
    <p:sldId id="498" r:id="rId36"/>
    <p:sldId id="500" r:id="rId37"/>
    <p:sldId id="502" r:id="rId38"/>
    <p:sldId id="728" r:id="rId39"/>
    <p:sldId id="508" r:id="rId40"/>
    <p:sldId id="684" r:id="rId41"/>
    <p:sldId id="611" r:id="rId42"/>
    <p:sldId id="613" r:id="rId43"/>
    <p:sldId id="614" r:id="rId44"/>
    <p:sldId id="618" r:id="rId45"/>
    <p:sldId id="619" r:id="rId46"/>
    <p:sldId id="629" r:id="rId47"/>
    <p:sldId id="630" r:id="rId48"/>
    <p:sldId id="631" r:id="rId49"/>
    <p:sldId id="708" r:id="rId50"/>
    <p:sldId id="643" r:id="rId51"/>
    <p:sldId id="646" r:id="rId52"/>
    <p:sldId id="647" r:id="rId53"/>
    <p:sldId id="648" r:id="rId54"/>
    <p:sldId id="649" r:id="rId55"/>
    <p:sldId id="709" r:id="rId56"/>
    <p:sldId id="662" r:id="rId57"/>
    <p:sldId id="663" r:id="rId58"/>
    <p:sldId id="664" r:id="rId59"/>
    <p:sldId id="665" r:id="rId60"/>
    <p:sldId id="666" r:id="rId61"/>
    <p:sldId id="509" r:id="rId62"/>
    <p:sldId id="511" r:id="rId63"/>
    <p:sldId id="512" r:id="rId64"/>
    <p:sldId id="514" r:id="rId65"/>
    <p:sldId id="515" r:id="rId66"/>
    <p:sldId id="516" r:id="rId67"/>
    <p:sldId id="518" r:id="rId68"/>
    <p:sldId id="519" r:id="rId69"/>
    <p:sldId id="710" r:id="rId70"/>
    <p:sldId id="517" r:id="rId71"/>
    <p:sldId id="711" r:id="rId72"/>
    <p:sldId id="712" r:id="rId73"/>
    <p:sldId id="713" r:id="rId74"/>
    <p:sldId id="714" r:id="rId75"/>
    <p:sldId id="715" r:id="rId76"/>
    <p:sldId id="716" r:id="rId77"/>
    <p:sldId id="522" r:id="rId78"/>
    <p:sldId id="717" r:id="rId79"/>
    <p:sldId id="688" r:id="rId80"/>
    <p:sldId id="524" r:id="rId81"/>
    <p:sldId id="525" r:id="rId82"/>
    <p:sldId id="689" r:id="rId83"/>
    <p:sldId id="690" r:id="rId84"/>
    <p:sldId id="691" r:id="rId85"/>
    <p:sldId id="692" r:id="rId86"/>
    <p:sldId id="693" r:id="rId87"/>
    <p:sldId id="694" r:id="rId88"/>
    <p:sldId id="718" r:id="rId89"/>
    <p:sldId id="731" r:id="rId90"/>
    <p:sldId id="326" r:id="rId91"/>
  </p:sldIdLst>
  <p:sldSz cx="14630400" cy="82296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592">
          <p15:clr>
            <a:srgbClr val="A4A3A4"/>
          </p15:clr>
        </p15:guide>
        <p15:guide id="2" pos="460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94" roundtripDataSignature="AMtx7mit8FzYP3mSW2obzFDKecyNRL//0A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30F3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241E120-B410-4F24-8584-A7FE96D67CB5}">
  <a:tblStyle styleId="{6241E120-B410-4F24-8584-A7FE96D67CB5}" styleName="Table_0">
    <a:wholeTbl>
      <a:tcTxStyle b="off" i="off">
        <a:font>
          <a:latin typeface="Arial"/>
          <a:ea typeface="Arial"/>
          <a:cs typeface="Arial"/>
        </a:font>
        <a:schemeClr val="dk1"/>
      </a:tcTxStyle>
      <a:tcStyle>
        <a:tcBdr>
          <a:left>
            <a:ln w="9525" cap="flat" cmpd="sng">
              <a:solidFill>
                <a:schemeClr val="accent4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chemeClr val="accent4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chemeClr val="accent4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chemeClr val="accent4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TxStyle/>
      <a:tcStyle>
        <a:tcBdr>
          <a:top>
            <a:ln w="9525" cap="flat" cmpd="sng">
              <a:solidFill>
                <a:schemeClr val="accent4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chemeClr val="accent4"/>
              </a:solidFill>
              <a:prstDash val="solid"/>
              <a:round/>
              <a:headEnd type="none" w="sm" len="sm"/>
              <a:tailEnd type="none" w="sm" len="sm"/>
            </a:ln>
          </a:bottom>
        </a:tcBdr>
      </a:tcStyle>
    </a:band1H>
    <a:band2H>
      <a:tcTxStyle/>
      <a:tcStyle>
        <a:tcBdr/>
      </a:tcStyle>
    </a:band2H>
    <a:band1V>
      <a:tcTxStyle/>
      <a:tcStyle>
        <a:tcBdr>
          <a:left>
            <a:ln w="9525" cap="flat" cmpd="sng">
              <a:solidFill>
                <a:schemeClr val="accent4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chemeClr val="accent4"/>
              </a:solidFill>
              <a:prstDash val="solid"/>
              <a:round/>
              <a:headEnd type="none" w="sm" len="sm"/>
              <a:tailEnd type="none" w="sm" len="sm"/>
            </a:ln>
          </a:right>
        </a:tcBdr>
      </a:tcStyle>
    </a:band1V>
    <a:band2V>
      <a:tcTxStyle/>
      <a:tcStyle>
        <a:tcBdr>
          <a:left>
            <a:ln w="9525" cap="flat" cmpd="sng">
              <a:solidFill>
                <a:schemeClr val="accent4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chemeClr val="accent4"/>
              </a:solidFill>
              <a:prstDash val="solid"/>
              <a:round/>
              <a:headEnd type="none" w="sm" len="sm"/>
              <a:tailEnd type="none" w="sm" len="sm"/>
            </a:ln>
          </a:right>
        </a:tcBdr>
      </a:tcStyle>
    </a:band2V>
    <a:lastCol>
      <a:tcTxStyle b="on" i="off"/>
      <a:tcStyle>
        <a:tcBdr/>
      </a:tcStyle>
    </a:lastCol>
    <a:firstCol>
      <a:tcTxStyle b="on" i="off"/>
      <a:tcStyle>
        <a:tcBdr/>
      </a:tcStyle>
    </a:firstCol>
    <a:lastRow>
      <a:tcTxStyle b="on" i="off"/>
      <a:tcStyle>
        <a:tcBdr>
          <a:top>
            <a:ln w="50800" cap="flat" cmpd="sng">
              <a:solidFill>
                <a:schemeClr val="accent4"/>
              </a:solidFill>
              <a:prstDash val="solid"/>
              <a:round/>
              <a:headEnd type="none" w="sm" len="sm"/>
              <a:tailEnd type="none" w="sm" len="sm"/>
            </a:ln>
          </a:top>
        </a:tcBdr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Arial"/>
          <a:ea typeface="Arial"/>
          <a:cs typeface="Arial"/>
        </a:font>
        <a:schemeClr val="lt1"/>
      </a:tcTxStyle>
      <a:tcStyle>
        <a:tcBdr/>
        <a:fill>
          <a:solidFill>
            <a:schemeClr val="accent4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05B9B720-7000-48BC-94D8-E491F962F4C2}" styleName="Table_1">
    <a:wholeTbl>
      <a:tcTxStyle b="off" i="off">
        <a:font>
          <a:latin typeface="Arial"/>
          <a:ea typeface="Arial"/>
          <a:cs typeface="Arial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EAEAEA"/>
          </a:solidFill>
        </a:fill>
      </a:tcStyle>
    </a:wholeTbl>
    <a:band1H>
      <a:tcTxStyle/>
      <a:tcStyle>
        <a:tcBdr/>
        <a:fill>
          <a:solidFill>
            <a:srgbClr val="D2D2D3"/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rgbClr val="D2D2D3"/>
          </a:solidFill>
        </a:fill>
      </a:tcStyle>
    </a:band1V>
    <a:band2V>
      <a:tcTxStyle/>
      <a:tcStyle>
        <a:tcBdr/>
      </a:tcStyle>
    </a:band2V>
    <a:lastCol>
      <a:tcTxStyle b="on" i="off">
        <a:font>
          <a:latin typeface="Arial"/>
          <a:ea typeface="Arial"/>
          <a:cs typeface="Arial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Arial"/>
          <a:ea typeface="Arial"/>
          <a:cs typeface="Arial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Arial"/>
          <a:ea typeface="Arial"/>
          <a:cs typeface="Arial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1"/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Arial"/>
          <a:ea typeface="Arial"/>
          <a:cs typeface="Arial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1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6412692B-1159-4AD2-B6C6-219829DA5D30}" styleName="Table_2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TxStyle b="off" i="off"/>
      <a:tcStyle>
        <a:tcBdr/>
      </a:tcStyle>
    </a:band1H>
    <a:band2H>
      <a:tcTxStyle b="off" i="off"/>
      <a:tcStyle>
        <a:tcBdr/>
      </a:tcStyle>
    </a:band2H>
    <a:band1V>
      <a:tcTxStyle b="off" i="off"/>
      <a:tcStyle>
        <a:tcBdr/>
      </a:tcStyle>
    </a:band1V>
    <a:band2V>
      <a:tcTxStyle b="off" i="off"/>
      <a:tcStyle>
        <a:tcBdr/>
      </a:tcStyle>
    </a:band2V>
    <a:lastCol>
      <a:tcTxStyle b="off" i="off"/>
      <a:tcStyle>
        <a:tcBdr/>
      </a:tcStyle>
    </a:lastCol>
    <a:firstCol>
      <a:tcTxStyle b="off" i="off"/>
      <a:tcStyle>
        <a:tcBdr/>
      </a:tcStyle>
    </a:firstCol>
    <a:lastRow>
      <a:tcTxStyle b="off" i="off"/>
      <a:tcStyle>
        <a:tcBdr/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ff" i="off"/>
      <a:tcStyle>
        <a:tcBdr/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06" autoAdjust="0"/>
    <p:restoredTop sz="90553" autoAdjust="0"/>
  </p:normalViewPr>
  <p:slideViewPr>
    <p:cSldViewPr snapToGrid="0">
      <p:cViewPr varScale="1">
        <p:scale>
          <a:sx n="66" d="100"/>
          <a:sy n="66" d="100"/>
        </p:scale>
        <p:origin x="821" y="62"/>
      </p:cViewPr>
      <p:guideLst>
        <p:guide orient="horz" pos="2592"/>
        <p:guide pos="4608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2" d="100"/>
          <a:sy n="62" d="100"/>
        </p:scale>
        <p:origin x="3154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76" Type="http://schemas.openxmlformats.org/officeDocument/2006/relationships/slide" Target="slides/slide72.xml"/><Relationship Id="rId84" Type="http://schemas.openxmlformats.org/officeDocument/2006/relationships/slide" Target="slides/slide80.xml"/><Relationship Id="rId89" Type="http://schemas.openxmlformats.org/officeDocument/2006/relationships/slide" Target="slides/slide85.xml"/><Relationship Id="rId97" Type="http://schemas.openxmlformats.org/officeDocument/2006/relationships/theme" Target="theme/theme1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92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slide" Target="slides/slide62.xml"/><Relationship Id="rId74" Type="http://schemas.openxmlformats.org/officeDocument/2006/relationships/slide" Target="slides/slide70.xml"/><Relationship Id="rId79" Type="http://schemas.openxmlformats.org/officeDocument/2006/relationships/slide" Target="slides/slide75.xml"/><Relationship Id="rId87" Type="http://schemas.openxmlformats.org/officeDocument/2006/relationships/slide" Target="slides/slide83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82" Type="http://schemas.openxmlformats.org/officeDocument/2006/relationships/slide" Target="slides/slide78.xml"/><Relationship Id="rId90" Type="http://schemas.openxmlformats.org/officeDocument/2006/relationships/slide" Target="slides/slide86.xml"/><Relationship Id="rId95" Type="http://schemas.openxmlformats.org/officeDocument/2006/relationships/presProps" Target="presProps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77" Type="http://schemas.openxmlformats.org/officeDocument/2006/relationships/slide" Target="slides/slide73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80" Type="http://schemas.openxmlformats.org/officeDocument/2006/relationships/slide" Target="slides/slide76.xml"/><Relationship Id="rId85" Type="http://schemas.openxmlformats.org/officeDocument/2006/relationships/slide" Target="slides/slide81.xml"/><Relationship Id="rId93" Type="http://schemas.openxmlformats.org/officeDocument/2006/relationships/handoutMaster" Target="handoutMasters/handoutMaster1.xml"/><Relationship Id="rId98" Type="http://schemas.openxmlformats.org/officeDocument/2006/relationships/tableStyles" Target="tableStyles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83" Type="http://schemas.openxmlformats.org/officeDocument/2006/relationships/slide" Target="slides/slide79.xml"/><Relationship Id="rId88" Type="http://schemas.openxmlformats.org/officeDocument/2006/relationships/slide" Target="slides/slide84.xml"/><Relationship Id="rId91" Type="http://schemas.openxmlformats.org/officeDocument/2006/relationships/slide" Target="slides/slide87.xml"/><Relationship Id="rId9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slide" Target="slides/slide69.xml"/><Relationship Id="rId78" Type="http://schemas.openxmlformats.org/officeDocument/2006/relationships/slide" Target="slides/slide74.xml"/><Relationship Id="rId81" Type="http://schemas.openxmlformats.org/officeDocument/2006/relationships/slide" Target="slides/slide77.xml"/><Relationship Id="rId86" Type="http://schemas.openxmlformats.org/officeDocument/2006/relationships/slide" Target="slides/slide82.xml"/><Relationship Id="rId94" Type="http://customschemas.google.com/relationships/presentationmetadata" Target="metadata"/><Relationship Id="rId9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elga Gasco Torralba" userId="ab75db6a-f95e-44ad-8fad-bdc299b1b8a4" providerId="ADAL" clId="{3279F38B-1E45-4183-8C35-0744638C8008}"/>
    <pc:docChg chg="modSld">
      <pc:chgData name="Helga Gasco Torralba" userId="ab75db6a-f95e-44ad-8fad-bdc299b1b8a4" providerId="ADAL" clId="{3279F38B-1E45-4183-8C35-0744638C8008}" dt="2023-07-31T09:31:04.477" v="11" actId="14100"/>
      <pc:docMkLst>
        <pc:docMk/>
      </pc:docMkLst>
      <pc:sldChg chg="modSp mod">
        <pc:chgData name="Helga Gasco Torralba" userId="ab75db6a-f95e-44ad-8fad-bdc299b1b8a4" providerId="ADAL" clId="{3279F38B-1E45-4183-8C35-0744638C8008}" dt="2023-07-31T09:31:04.477" v="11" actId="14100"/>
        <pc:sldMkLst>
          <pc:docMk/>
          <pc:sldMk cId="3181119180" sldId="728"/>
        </pc:sldMkLst>
        <pc:picChg chg="mod">
          <ac:chgData name="Helga Gasco Torralba" userId="ab75db6a-f95e-44ad-8fad-bdc299b1b8a4" providerId="ADAL" clId="{3279F38B-1E45-4183-8C35-0744638C8008}" dt="2023-07-31T09:31:04.477" v="11" actId="14100"/>
          <ac:picMkLst>
            <pc:docMk/>
            <pc:sldMk cId="3181119180" sldId="728"/>
            <ac:picMk id="4" creationId="{C9BD5D05-91A7-402E-878D-22EBC307DCD9}"/>
          </ac:picMkLst>
        </pc:picChg>
      </pc:sldChg>
      <pc:sldChg chg="modSp mod">
        <pc:chgData name="Helga Gasco Torralba" userId="ab75db6a-f95e-44ad-8fad-bdc299b1b8a4" providerId="ADAL" clId="{3279F38B-1E45-4183-8C35-0744638C8008}" dt="2023-07-31T09:29:10.873" v="8" actId="1076"/>
        <pc:sldMkLst>
          <pc:docMk/>
          <pc:sldMk cId="287560341" sldId="730"/>
        </pc:sldMkLst>
        <pc:picChg chg="mod">
          <ac:chgData name="Helga Gasco Torralba" userId="ab75db6a-f95e-44ad-8fad-bdc299b1b8a4" providerId="ADAL" clId="{3279F38B-1E45-4183-8C35-0744638C8008}" dt="2023-07-31T09:29:10.873" v="8" actId="1076"/>
          <ac:picMkLst>
            <pc:docMk/>
            <pc:sldMk cId="287560341" sldId="730"/>
            <ac:picMk id="6" creationId="{015A446E-B479-4123-87BF-AA6EE3A6F368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6327E78-AB3E-475F-B282-CBCD6350FF8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B1BAEEE-33A1-4272-BA45-45797EAA9AF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13FAC6-F7F0-4B39-8D9E-90EE4C5AF6F5}" type="datetimeFigureOut">
              <a:rPr lang="en-GB" smtClean="0"/>
              <a:t>31/07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9DC9E3-808F-41D6-9745-0C0682C679B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4BAFDF-53F2-4430-8FBE-FE79D77B77E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BD8FCA-89F9-4142-B80D-E5C73CA9672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80592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57097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8D2A4FF-A3DC-4DAA-A1AC-DEFDAC1BD733}" type="slidenum">
              <a:rPr lang="en-US" altLang="en-US"/>
              <a:pPr/>
              <a:t>41</a:t>
            </a:fld>
            <a:endParaRPr lang="en-US" altLang="en-US"/>
          </a:p>
        </p:txBody>
      </p:sp>
      <p:sp>
        <p:nvSpPr>
          <p:cNvPr id="549890" name="Rectangle 102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2588" y="685800"/>
            <a:ext cx="6094412" cy="3429000"/>
          </a:xfrm>
          <a:ln/>
        </p:spPr>
      </p:sp>
      <p:sp>
        <p:nvSpPr>
          <p:cNvPr id="549891" name="Rectangle 1027"/>
          <p:cNvSpPr>
            <a:spLocks noGrp="1" noChangeArrowheads="1"/>
          </p:cNvSpPr>
          <p:nvPr>
            <p:ph type="body" idx="1"/>
          </p:nvPr>
        </p:nvSpPr>
        <p:spPr>
          <a:xfrm>
            <a:off x="913805" y="4343704"/>
            <a:ext cx="5030391" cy="4113892"/>
          </a:xfrm>
        </p:spPr>
        <p:txBody>
          <a:bodyPr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904132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4562FEE-2A12-470C-92B7-59902B56D17A}" type="slidenum">
              <a:rPr lang="en-US" altLang="en-US"/>
              <a:pPr/>
              <a:t>43</a:t>
            </a:fld>
            <a:endParaRPr lang="en-US" altLang="en-US"/>
          </a:p>
        </p:txBody>
      </p:sp>
      <p:sp>
        <p:nvSpPr>
          <p:cNvPr id="692226" name="Rectangle 2050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2588" y="685800"/>
            <a:ext cx="6094412" cy="3429000"/>
          </a:xfrm>
          <a:ln/>
        </p:spPr>
      </p:sp>
      <p:sp>
        <p:nvSpPr>
          <p:cNvPr id="692227" name="Rectangle 2051"/>
          <p:cNvSpPr>
            <a:spLocks noGrp="1" noChangeArrowheads="1"/>
          </p:cNvSpPr>
          <p:nvPr>
            <p:ph type="body" idx="1"/>
          </p:nvPr>
        </p:nvSpPr>
        <p:spPr>
          <a:xfrm>
            <a:off x="913805" y="4343704"/>
            <a:ext cx="5030391" cy="4113892"/>
          </a:xfrm>
        </p:spPr>
        <p:txBody>
          <a:bodyPr/>
          <a:lstStyle/>
          <a:p>
            <a:r>
              <a:rPr lang="en-US" altLang="en-US"/>
              <a:t>The Resting ECG is a resting electrocardiogram or electrocardiograph – it is called EKG (Germany derivation) or ECG (American derivation).</a:t>
            </a:r>
          </a:p>
          <a:p>
            <a:endParaRPr lang="en-US" altLang="en-US"/>
          </a:p>
          <a:p>
            <a:r>
              <a:rPr lang="en-US" altLang="en-US"/>
              <a:t>It is a safe and painless test – the patient lies down on a comfortable exam table and continues to rest while the test is being performed</a:t>
            </a:r>
          </a:p>
          <a:p>
            <a:endParaRPr lang="en-US" altLang="en-US"/>
          </a:p>
          <a:p>
            <a:r>
              <a:rPr lang="en-US" altLang="en-US"/>
              <a:t>The system records the electrical impulses produced by the heart – On the right you can see a sample ECG Chart.</a:t>
            </a:r>
          </a:p>
          <a:p>
            <a:endParaRPr lang="en-US" altLang="en-US"/>
          </a:p>
          <a:p>
            <a:r>
              <a:rPr lang="en-US" altLang="en-US"/>
              <a:t>The wavy lines represent different view of the heart over a short period of time – 3 to 5 minutes.</a:t>
            </a:r>
          </a:p>
        </p:txBody>
      </p:sp>
    </p:spTree>
    <p:extLst>
      <p:ext uri="{BB962C8B-B14F-4D97-AF65-F5344CB8AC3E}">
        <p14:creationId xmlns:p14="http://schemas.microsoft.com/office/powerpoint/2010/main" val="318810206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1610E71-C060-4196-B743-B239381507C1}" type="slidenum">
              <a:rPr lang="en-US" altLang="en-US"/>
              <a:pPr/>
              <a:t>48</a:t>
            </a:fld>
            <a:endParaRPr lang="en-US" altLang="en-US"/>
          </a:p>
        </p:txBody>
      </p:sp>
      <p:sp>
        <p:nvSpPr>
          <p:cNvPr id="561154" name="Rectangle 102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2588" y="685800"/>
            <a:ext cx="6094412" cy="3429000"/>
          </a:xfrm>
          <a:ln/>
        </p:spPr>
      </p:sp>
      <p:sp>
        <p:nvSpPr>
          <p:cNvPr id="561155" name="Rectangle 1027"/>
          <p:cNvSpPr>
            <a:spLocks noGrp="1" noChangeArrowheads="1"/>
          </p:cNvSpPr>
          <p:nvPr>
            <p:ph type="body" idx="1"/>
          </p:nvPr>
        </p:nvSpPr>
        <p:spPr>
          <a:xfrm>
            <a:off x="913805" y="4343704"/>
            <a:ext cx="5030391" cy="4113892"/>
          </a:xfrm>
        </p:spPr>
        <p:txBody>
          <a:bodyPr/>
          <a:lstStyle/>
          <a:p>
            <a:r>
              <a:rPr lang="en-US" altLang="en-US"/>
              <a:t>An exercise test records the electrical activity of the heart on an electrocardiogram while a patient exercises on a treadmill or a stationary bicycle (ergonometer). Note: GE sells treadmills not ergonometers.</a:t>
            </a:r>
          </a:p>
          <a:p>
            <a:endParaRPr lang="en-US" altLang="en-US"/>
          </a:p>
          <a:p>
            <a:r>
              <a:rPr lang="en-US" altLang="en-US"/>
              <a:t>During the test, blood pressure measurements are recorded. The Critikon wall manometer and blood pressure cuffs are an excellent choice for exercise/stress testing. The blood pressure is taken manually – not automatically.</a:t>
            </a:r>
          </a:p>
        </p:txBody>
      </p:sp>
    </p:spTree>
    <p:extLst>
      <p:ext uri="{BB962C8B-B14F-4D97-AF65-F5344CB8AC3E}">
        <p14:creationId xmlns:p14="http://schemas.microsoft.com/office/powerpoint/2010/main" val="253703747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72B6FA6-5EC9-4353-871F-72C3796A940D}" type="slidenum">
              <a:rPr lang="en-US" altLang="en-US"/>
              <a:pPr/>
              <a:t>55</a:t>
            </a:fld>
            <a:endParaRPr lang="en-US" altLang="en-US"/>
          </a:p>
        </p:txBody>
      </p:sp>
      <p:sp>
        <p:nvSpPr>
          <p:cNvPr id="5857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2588" y="685800"/>
            <a:ext cx="6094412" cy="3429000"/>
          </a:xfrm>
          <a:ln/>
        </p:spPr>
      </p:sp>
      <p:sp>
        <p:nvSpPr>
          <p:cNvPr id="5857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3805" y="4343704"/>
            <a:ext cx="5030391" cy="4113892"/>
          </a:xfrm>
        </p:spPr>
        <p:txBody>
          <a:bodyPr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8533467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FE19FCF-9B1D-49A7-A3CB-55875800018C}" type="slidenum">
              <a:rPr lang="en-US" altLang="en-US"/>
              <a:pPr/>
              <a:t>76</a:t>
            </a:fld>
            <a:endParaRPr lang="en-US" altLang="en-US"/>
          </a:p>
        </p:txBody>
      </p:sp>
      <p:sp>
        <p:nvSpPr>
          <p:cNvPr id="708610" name="Rectangle 1026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08611" name="Rectangle 1027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044860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335982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-95250" y="217488"/>
            <a:ext cx="7277100" cy="4094162"/>
          </a:xfrm>
          <a:ln/>
        </p:spPr>
      </p:sp>
      <p:sp>
        <p:nvSpPr>
          <p:cNvPr id="13315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dirty="0">
              <a:latin typeface="GE Inspira Pitch" pitchFamily="-84" charset="0"/>
              <a:ea typeface="ＭＳ Ｐゴシック" pitchFamily="-8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482656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300">
                <a:solidFill>
                  <a:schemeClr val="tx2"/>
                </a:solidFill>
                <a:latin typeface="Tahoma" pitchFamily="34" charset="0"/>
              </a:defRPr>
            </a:lvl1pPr>
            <a:lvl2pPr marL="757024" indent="-291163">
              <a:defRPr sz="3300">
                <a:solidFill>
                  <a:schemeClr val="tx2"/>
                </a:solidFill>
                <a:latin typeface="Tahoma" pitchFamily="34" charset="0"/>
              </a:defRPr>
            </a:lvl2pPr>
            <a:lvl3pPr marL="1164653" indent="-232930">
              <a:defRPr sz="3300">
                <a:solidFill>
                  <a:schemeClr val="tx2"/>
                </a:solidFill>
                <a:latin typeface="Tahoma" pitchFamily="34" charset="0"/>
              </a:defRPr>
            </a:lvl3pPr>
            <a:lvl4pPr marL="1630514" indent="-232930">
              <a:defRPr sz="3300">
                <a:solidFill>
                  <a:schemeClr val="tx2"/>
                </a:solidFill>
                <a:latin typeface="Tahoma" pitchFamily="34" charset="0"/>
              </a:defRPr>
            </a:lvl4pPr>
            <a:lvl5pPr marL="2096375" indent="-232930">
              <a:defRPr sz="3300">
                <a:solidFill>
                  <a:schemeClr val="tx2"/>
                </a:solidFill>
                <a:latin typeface="Tahoma" pitchFamily="34" charset="0"/>
              </a:defRPr>
            </a:lvl5pPr>
            <a:lvl6pPr marL="2562236" indent="-232930" algn="ctr" eaLnBrk="0" fontAlgn="base" hangingPunct="0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Tahoma" pitchFamily="34" charset="0"/>
              </a:defRPr>
            </a:lvl6pPr>
            <a:lvl7pPr marL="3028096" indent="-232930" algn="ctr" eaLnBrk="0" fontAlgn="base" hangingPunct="0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Tahoma" pitchFamily="34" charset="0"/>
              </a:defRPr>
            </a:lvl7pPr>
            <a:lvl8pPr marL="3493957" indent="-232930" algn="ctr" eaLnBrk="0" fontAlgn="base" hangingPunct="0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Tahoma" pitchFamily="34" charset="0"/>
              </a:defRPr>
            </a:lvl8pPr>
            <a:lvl9pPr marL="3959819" indent="-232930" algn="ctr" eaLnBrk="0" fontAlgn="base" hangingPunct="0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Tahoma" pitchFamily="34" charset="0"/>
              </a:defRPr>
            </a:lvl9pPr>
          </a:lstStyle>
          <a:p>
            <a:fld id="{560E933F-2033-4FF1-AAED-D40AB040156B}" type="slidenum">
              <a:rPr lang="en-US" sz="1200">
                <a:solidFill>
                  <a:schemeClr val="tx1"/>
                </a:solidFill>
                <a:latin typeface="Arial" charset="0"/>
              </a:rPr>
              <a:pPr/>
              <a:t>21</a:t>
            </a:fld>
            <a:endParaRPr lang="en-US" sz="12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22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222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-95250" y="217488"/>
            <a:ext cx="7277100" cy="4094162"/>
          </a:xfrm>
          <a:ln/>
        </p:spPr>
      </p:sp>
      <p:sp>
        <p:nvSpPr>
          <p:cNvPr id="13315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dirty="0">
              <a:latin typeface="GE Inspira Pitch" pitchFamily="-84" charset="0"/>
              <a:ea typeface="ＭＳ Ｐゴシック" pitchFamily="-84" charset="-128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-95250" y="217488"/>
            <a:ext cx="7277100" cy="4094162"/>
          </a:xfrm>
          <a:ln/>
        </p:spPr>
      </p:sp>
      <p:sp>
        <p:nvSpPr>
          <p:cNvPr id="13315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dirty="0">
              <a:latin typeface="GE Inspira Pitch" pitchFamily="-84" charset="0"/>
              <a:ea typeface="ＭＳ Ｐゴシック" pitchFamily="-84" charset="-128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end x2 catalogue</a:t>
            </a:r>
          </a:p>
        </p:txBody>
      </p:sp>
    </p:spTree>
    <p:extLst>
      <p:ext uri="{BB962C8B-B14F-4D97-AF65-F5344CB8AC3E}">
        <p14:creationId xmlns:p14="http://schemas.microsoft.com/office/powerpoint/2010/main" val="18535438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o diagnose or evaluate cardiac conditions. 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36FE72-147A-49CD-8393-DCBC5CCEE8A3}" type="slidenum">
              <a:rPr lang="en-GB" smtClean="0"/>
              <a:t>3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335793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36FE72-147A-49CD-8393-DCBC5CCEE8A3}" type="slidenum">
              <a:rPr lang="en-GB" smtClean="0"/>
              <a:t>3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22165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9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White Slide" preserve="1" userDrawn="1">
  <p:cSld name="1_White Slide"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" name="Google Shape;231;p35"/>
          <p:cNvSpPr txBox="1">
            <a:spLocks noGrp="1"/>
          </p:cNvSpPr>
          <p:nvPr>
            <p:ph type="title" hasCustomPrompt="1"/>
          </p:nvPr>
        </p:nvSpPr>
        <p:spPr>
          <a:xfrm>
            <a:off x="566399" y="227598"/>
            <a:ext cx="13133542" cy="5832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>
                <a:solidFill>
                  <a:schemeClr val="accent6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 dirty="0"/>
              <a:t>PPT TEMPLATE DO’S &amp; DON’TS</a:t>
            </a:r>
            <a:endParaRPr dirty="0"/>
          </a:p>
        </p:txBody>
      </p:sp>
      <p:pic>
        <p:nvPicPr>
          <p:cNvPr id="232" name="Google Shape;232;p3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2472563" y="7650946"/>
            <a:ext cx="1833902" cy="404723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BB625E07-9B63-6544-9C83-ADBDD1E17D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52368" y="7586439"/>
            <a:ext cx="3290887" cy="438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D888F868-255D-B747-B6D4-EC545A4D9D04}" type="slidenum">
              <a:rPr lang="en-US" smtClean="0"/>
              <a:pPr/>
              <a:t>‹#›</a:t>
            </a:fld>
            <a:endParaRPr lang="en-US"/>
          </a:p>
        </p:txBody>
      </p:sp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EAAB7FA3-9676-974C-AA25-E340E2336616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27890952"/>
              </p:ext>
            </p:extLst>
          </p:nvPr>
        </p:nvGraphicFramePr>
        <p:xfrm>
          <a:off x="566399" y="806750"/>
          <a:ext cx="13133542" cy="6747435"/>
        </p:xfrm>
        <a:graphic>
          <a:graphicData uri="http://schemas.openxmlformats.org/drawingml/2006/table">
            <a:tbl>
              <a:tblPr firstRow="1" bandRow="1">
                <a:tableStyleId>{6241E120-B410-4F24-8584-A7FE96D67CB5}</a:tableStyleId>
              </a:tblPr>
              <a:tblGrid>
                <a:gridCol w="6566771">
                  <a:extLst>
                    <a:ext uri="{9D8B030D-6E8A-4147-A177-3AD203B41FA5}">
                      <a16:colId xmlns:a16="http://schemas.microsoft.com/office/drawing/2014/main" val="2161270691"/>
                    </a:ext>
                  </a:extLst>
                </a:gridCol>
                <a:gridCol w="6566771">
                  <a:extLst>
                    <a:ext uri="{9D8B030D-6E8A-4147-A177-3AD203B41FA5}">
                      <a16:colId xmlns:a16="http://schemas.microsoft.com/office/drawing/2014/main" val="355741433"/>
                    </a:ext>
                  </a:extLst>
                </a:gridCol>
              </a:tblGrid>
              <a:tr h="563103">
                <a:tc>
                  <a:txBody>
                    <a:bodyPr/>
                    <a:lstStyle/>
                    <a:p>
                      <a:r>
                        <a:rPr lang="en-US" sz="32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O’s</a:t>
                      </a:r>
                    </a:p>
                  </a:txBody>
                  <a:tcPr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3200" dirty="0"/>
                        <a:t>DON’T</a:t>
                      </a:r>
                    </a:p>
                  </a:txBody>
                  <a:tcPr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449567333"/>
                  </a:ext>
                </a:extLst>
              </a:tr>
              <a:tr h="563103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solidFill>
                            <a:schemeClr val="accent6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nly use Calibri font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solidFill>
                            <a:schemeClr val="accent6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VER use gray font as it it difficult for your viewers to read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450358952"/>
                  </a:ext>
                </a:extLst>
              </a:tr>
              <a:tr h="211617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solidFill>
                            <a:schemeClr val="accent6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nly use the  “Theme Colors” shown at the TOP of the color palette (not “Standard Colors”).  Pictured below is the Vyaire Color Palett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600" dirty="0">
                        <a:solidFill>
                          <a:schemeClr val="accent6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600" dirty="0">
                        <a:solidFill>
                          <a:schemeClr val="accent6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600" dirty="0">
                        <a:solidFill>
                          <a:schemeClr val="accent6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600" dirty="0">
                        <a:solidFill>
                          <a:schemeClr val="accent6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600" dirty="0">
                        <a:solidFill>
                          <a:schemeClr val="accent6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solidFill>
                            <a:schemeClr val="accent6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nly use red as an accent in print and digital communications 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solidFill>
                            <a:schemeClr val="accent6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nly use red text in print or digital materials on a gray or white background 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600" dirty="0">
                        <a:solidFill>
                          <a:schemeClr val="accent6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solidFill>
                            <a:schemeClr val="accent6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se the Vyaire reds for titles, sub-titles or headlines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solidFill>
                            <a:schemeClr val="accent6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se the Vyaire reds on any dark or colored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solidFill>
                            <a:schemeClr val="accent6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o red for product names 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solidFill>
                            <a:schemeClr val="accent6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d cannot be used on a blue background 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solidFill>
                            <a:schemeClr val="accent6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o full red backgrounds 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solidFill>
                            <a:schemeClr val="accent6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o red in headlines in PPT presentation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600" dirty="0">
                        <a:solidFill>
                          <a:schemeClr val="accent6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626124589"/>
                  </a:ext>
                </a:extLst>
              </a:tr>
              <a:tr h="563103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solidFill>
                            <a:schemeClr val="accent6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nly use Vyaire dark blue (last blue on the right – Indigo, Accent 6) for primary body copy and headlines/titles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solidFill>
                            <a:schemeClr val="accent6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lete slides from the Slide Master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236573266"/>
                  </a:ext>
                </a:extLst>
              </a:tr>
              <a:tr h="563103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solidFill>
                            <a:schemeClr val="accent6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hoose the slides that align with your presentation content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solidFill>
                            <a:schemeClr val="accent6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o not create your own text box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9526690"/>
                  </a:ext>
                </a:extLst>
              </a:tr>
              <a:tr h="563103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solidFill>
                            <a:schemeClr val="accent6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se the slide outline to help organize your presentation 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accent6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581890488"/>
                  </a:ext>
                </a:extLst>
              </a:tr>
              <a:tr h="563103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solidFill>
                            <a:schemeClr val="accent6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dd a footer using Calibri 10pt font if necessary 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accent6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4140425542"/>
                  </a:ext>
                </a:extLst>
              </a:tr>
              <a:tr h="563103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solidFill>
                            <a:schemeClr val="accent6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hange the font to Calibri, Indigo Accent 6 when inserting a table 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accent6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629874090"/>
                  </a:ext>
                </a:extLst>
              </a:tr>
            </a:tbl>
          </a:graphicData>
        </a:graphic>
      </p:graphicFrame>
      <p:pic>
        <p:nvPicPr>
          <p:cNvPr id="5" name="Picture 4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EA887BFB-8CD1-9947-92E9-3A8ED6A5D9F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268918" y="2613547"/>
            <a:ext cx="2582649" cy="1045973"/>
          </a:xfrm>
          <a:prstGeom prst="rect">
            <a:avLst/>
          </a:prstGeom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18259230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72B1D4"/>
              </a:buClr>
              <a:tabLst/>
              <a:defRPr/>
            </a:lvl1pPr>
            <a:lvl2pPr>
              <a:buClr>
                <a:srgbClr val="72B1D4"/>
              </a:buClr>
              <a:defRPr/>
            </a:lvl2pPr>
            <a:lvl3pPr>
              <a:buClr>
                <a:srgbClr val="72B1D4"/>
              </a:buClr>
              <a:defRPr/>
            </a:lvl3pPr>
            <a:lvl4pPr>
              <a:buClr>
                <a:srgbClr val="72B1D4"/>
              </a:buClr>
              <a:defRPr/>
            </a:lvl4pPr>
            <a:lvl5pPr>
              <a:buClr>
                <a:srgbClr val="72B1D4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BDE47-A11E-FE42-85BD-DB007C8838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7380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945031" y="785917"/>
            <a:ext cx="10740338" cy="6204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480" b="0" i="0" u="heavy">
                <a:solidFill>
                  <a:srgbClr val="172F75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2194560" y="4608577"/>
            <a:ext cx="10241280" cy="4544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31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80" b="0" i="0">
                <a:solidFill>
                  <a:srgbClr val="0C1524"/>
                </a:solidFill>
                <a:latin typeface="Verdana"/>
                <a:cs typeface="Verdana"/>
              </a:defRPr>
            </a:lvl1pPr>
          </a:lstStyle>
          <a:p>
            <a:pPr marL="60960">
              <a:spcBef>
                <a:spcPts val="208"/>
              </a:spcBef>
            </a:pPr>
            <a:r>
              <a:rPr lang="en-GB" spc="16"/>
              <a:t>10</a:t>
            </a:r>
          </a:p>
          <a:p>
            <a:pPr marL="60960">
              <a:spcBef>
                <a:spcPts val="48"/>
              </a:spcBef>
            </a:pPr>
            <a:fld id="{81D60167-4931-47E6-BA6A-407CBD079E47}" type="slidenum">
              <a:rPr spc="24" smtClean="0"/>
              <a:pPr marL="60960">
                <a:spcBef>
                  <a:spcPts val="48"/>
                </a:spcBef>
              </a:pPr>
              <a:t>‹#›</a:t>
            </a:fld>
            <a:endParaRPr spc="24" dirty="0"/>
          </a:p>
        </p:txBody>
      </p:sp>
    </p:spTree>
    <p:extLst>
      <p:ext uri="{BB962C8B-B14F-4D97-AF65-F5344CB8AC3E}">
        <p14:creationId xmlns:p14="http://schemas.microsoft.com/office/powerpoint/2010/main" val="243796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31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80" b="0" i="0">
                <a:solidFill>
                  <a:srgbClr val="0C1524"/>
                </a:solidFill>
                <a:latin typeface="Verdana"/>
                <a:cs typeface="Verdana"/>
              </a:defRPr>
            </a:lvl1pPr>
          </a:lstStyle>
          <a:p>
            <a:pPr marL="60960">
              <a:spcBef>
                <a:spcPts val="208"/>
              </a:spcBef>
            </a:pPr>
            <a:r>
              <a:rPr lang="en-GB" spc="16"/>
              <a:t>10</a:t>
            </a:r>
          </a:p>
          <a:p>
            <a:pPr marL="60960">
              <a:spcBef>
                <a:spcPts val="48"/>
              </a:spcBef>
            </a:pPr>
            <a:fld id="{81D60167-4931-47E6-BA6A-407CBD079E47}" type="slidenum">
              <a:rPr spc="24" smtClean="0"/>
              <a:pPr marL="60960">
                <a:spcBef>
                  <a:spcPts val="48"/>
                </a:spcBef>
              </a:pPr>
              <a:t>‹#›</a:t>
            </a:fld>
            <a:endParaRPr spc="24" dirty="0"/>
          </a:p>
        </p:txBody>
      </p:sp>
    </p:spTree>
    <p:extLst>
      <p:ext uri="{BB962C8B-B14F-4D97-AF65-F5344CB8AC3E}">
        <p14:creationId xmlns:p14="http://schemas.microsoft.com/office/powerpoint/2010/main" val="591956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>
  <p:cSld name="Title, Clip 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" y="337187"/>
            <a:ext cx="13535661" cy="68941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lipArt Placeholder 2"/>
          <p:cNvSpPr>
            <a:spLocks noGrp="1"/>
          </p:cNvSpPr>
          <p:nvPr>
            <p:ph type="clipArt" sz="half" idx="1"/>
          </p:nvPr>
        </p:nvSpPr>
        <p:spPr>
          <a:xfrm>
            <a:off x="548640" y="2072641"/>
            <a:ext cx="6644640" cy="332398"/>
          </a:xfrm>
        </p:spPr>
        <p:txBody>
          <a:bodyPr/>
          <a:lstStyle/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437120" y="2072641"/>
            <a:ext cx="6647181" cy="21051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820828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>
  <p:cSld name="Title, Text and Clip 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" y="337187"/>
            <a:ext cx="13535661" cy="68941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48640" y="2072641"/>
            <a:ext cx="6644640" cy="21051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lipArt Placeholder 3"/>
          <p:cNvSpPr>
            <a:spLocks noGrp="1"/>
          </p:cNvSpPr>
          <p:nvPr>
            <p:ph type="clipArt" sz="half" idx="2"/>
          </p:nvPr>
        </p:nvSpPr>
        <p:spPr>
          <a:xfrm>
            <a:off x="7437120" y="2072641"/>
            <a:ext cx="6647181" cy="332398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299980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480" b="0" i="0" u="heavy">
                <a:solidFill>
                  <a:srgbClr val="172F75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857504" y="1853998"/>
            <a:ext cx="4927600" cy="69269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520" b="0" i="0">
                <a:solidFill>
                  <a:srgbClr val="517AC6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7534656" y="1892808"/>
            <a:ext cx="6364224" cy="4544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31/2023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80" b="0" i="0">
                <a:solidFill>
                  <a:srgbClr val="0C1524"/>
                </a:solidFill>
                <a:latin typeface="Verdana"/>
                <a:cs typeface="Verdana"/>
              </a:defRPr>
            </a:lvl1pPr>
          </a:lstStyle>
          <a:p>
            <a:pPr marL="60960">
              <a:spcBef>
                <a:spcPts val="208"/>
              </a:spcBef>
            </a:pPr>
            <a:r>
              <a:rPr lang="en-GB" spc="16"/>
              <a:t>10</a:t>
            </a:r>
          </a:p>
          <a:p>
            <a:pPr marL="60960">
              <a:spcBef>
                <a:spcPts val="48"/>
              </a:spcBef>
            </a:pPr>
            <a:fld id="{81D60167-4931-47E6-BA6A-407CBD079E47}" type="slidenum">
              <a:rPr spc="24" smtClean="0"/>
              <a:pPr marL="60960">
                <a:spcBef>
                  <a:spcPts val="48"/>
                </a:spcBef>
              </a:pPr>
              <a:t>‹#›</a:t>
            </a:fld>
            <a:endParaRPr spc="24" dirty="0"/>
          </a:p>
        </p:txBody>
      </p:sp>
    </p:spTree>
    <p:extLst>
      <p:ext uri="{BB962C8B-B14F-4D97-AF65-F5344CB8AC3E}">
        <p14:creationId xmlns:p14="http://schemas.microsoft.com/office/powerpoint/2010/main" val="30785100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6880" y="731520"/>
            <a:ext cx="12435840" cy="1371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1706880" y="2377440"/>
            <a:ext cx="6096000" cy="49377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8046720" y="2377440"/>
            <a:ext cx="6096000" cy="23774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8046720" y="4937760"/>
            <a:ext cx="6096000" cy="23774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377684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013538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 Title Slide">
  <p:cSld name="BLUE 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oogle Shape;10;p5" descr="A picture containing logo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4630400" cy="8229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Google Shape;11;p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82650" y="889000"/>
            <a:ext cx="4248150" cy="931101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Google Shape;12;p5"/>
          <p:cNvSpPr txBox="1">
            <a:spLocks noGrp="1"/>
          </p:cNvSpPr>
          <p:nvPr>
            <p:ph type="ctrTitle"/>
          </p:nvPr>
        </p:nvSpPr>
        <p:spPr>
          <a:xfrm>
            <a:off x="882650" y="2613755"/>
            <a:ext cx="6205220" cy="2128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25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100"/>
              </a:spcBef>
              <a:spcAft>
                <a:spcPts val="0"/>
              </a:spcAft>
              <a:buClr>
                <a:schemeClr val="accent2"/>
              </a:buClr>
              <a:buSzPts val="4600"/>
              <a:buFont typeface="Calibri"/>
              <a:buNone/>
              <a:defRPr sz="46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3" name="Google Shape;13;p5"/>
          <p:cNvSpPr txBox="1">
            <a:spLocks noGrp="1"/>
          </p:cNvSpPr>
          <p:nvPr>
            <p:ph type="subTitle" idx="1"/>
          </p:nvPr>
        </p:nvSpPr>
        <p:spPr>
          <a:xfrm>
            <a:off x="919163" y="5753100"/>
            <a:ext cx="5526087" cy="5227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rgbClr val="A7A9AC"/>
              </a:buClr>
              <a:buSzPts val="2200"/>
              <a:buNone/>
              <a:defRPr sz="22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ctr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SzPts val="3200"/>
              <a:buNone/>
              <a:defRPr sz="3200"/>
            </a:lvl2pPr>
            <a:lvl3pPr lvl="2" algn="ctr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SzPts val="2880"/>
              <a:buNone/>
              <a:defRPr sz="2880"/>
            </a:lvl3pPr>
            <a:lvl4pPr lvl="3" algn="ctr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SzPts val="2560"/>
              <a:buNone/>
              <a:defRPr sz="2560"/>
            </a:lvl4pPr>
            <a:lvl5pPr lvl="4" algn="ctr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SzPts val="2560"/>
              <a:buNone/>
              <a:defRPr sz="2560"/>
            </a:lvl5pPr>
            <a:lvl6pPr lvl="5" algn="ctr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560"/>
              <a:buNone/>
              <a:defRPr sz="2560"/>
            </a:lvl6pPr>
            <a:lvl7pPr lvl="6" algn="ctr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560"/>
              <a:buNone/>
              <a:defRPr sz="2560"/>
            </a:lvl7pPr>
            <a:lvl8pPr lvl="7" algn="ctr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560"/>
              <a:buNone/>
              <a:defRPr sz="2560"/>
            </a:lvl8pPr>
            <a:lvl9pPr lvl="8" algn="ctr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560"/>
              <a:buNone/>
              <a:defRPr sz="256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4" name="Google Shape;14;p5"/>
          <p:cNvSpPr txBox="1"/>
          <p:nvPr/>
        </p:nvSpPr>
        <p:spPr>
          <a:xfrm>
            <a:off x="414777" y="7664452"/>
            <a:ext cx="8263255" cy="1410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000" b="0" i="0" u="none" strike="noStrike" cap="none">
                <a:solidFill>
                  <a:srgbClr val="A7A9AC"/>
                </a:solidFill>
                <a:latin typeface="Calibri"/>
                <a:ea typeface="Calibri"/>
                <a:cs typeface="Calibri"/>
                <a:sym typeface="Calibri"/>
              </a:rPr>
              <a:t>© 2021 Vyaire. Vyaire and the Vyaire logo are trademarks or registered trademarks of Vyaire Medical, Inc., or one of its affiliates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US slide">
  <p:cSld name="Closing US slide">
    <p:spTree>
      <p:nvGrpSpPr>
        <p:cNvPr id="1" name="Shape 2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" name="Google Shape;201;p37"/>
          <p:cNvSpPr txBox="1"/>
          <p:nvPr/>
        </p:nvSpPr>
        <p:spPr>
          <a:xfrm>
            <a:off x="882650" y="2652501"/>
            <a:ext cx="6005038" cy="23365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80137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</a:pPr>
            <a:r>
              <a:rPr lang="en-US" sz="2200" b="1" i="0" u="none" strike="noStrike" cap="none" dirty="0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Global Headquarters</a:t>
            </a:r>
            <a:endParaRPr sz="1400" b="0" i="0" u="none" strike="noStrike" cap="none" dirty="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2700" marR="801370" lvl="0" indent="0" algn="l" rtl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 dirty="0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Vyaire Medical, Inc.</a:t>
            </a:r>
            <a:endParaRPr sz="1400" b="0" i="0" u="none" strike="noStrike" cap="none" dirty="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2700" marR="801370" lvl="0" indent="0" algn="l" rtl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 dirty="0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26125 N. Riverwoods Blvd.</a:t>
            </a:r>
            <a:endParaRPr sz="1800" b="0" i="0" u="none" strike="noStrike" cap="none" dirty="0">
              <a:solidFill>
                <a:schemeClr val="accent6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2700" marR="375285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 dirty="0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Mettawa, IL 60045  USA</a:t>
            </a:r>
            <a:endParaRPr sz="1800" b="0" i="0" u="none" strike="noStrike" cap="none" dirty="0">
              <a:solidFill>
                <a:schemeClr val="accent6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30"/>
              </a:spcBef>
              <a:spcAft>
                <a:spcPts val="0"/>
              </a:spcAft>
              <a:buClr>
                <a:srgbClr val="000000"/>
              </a:buClr>
              <a:buSzPts val="1850"/>
              <a:buFont typeface="Arial"/>
              <a:buNone/>
            </a:pPr>
            <a:endParaRPr sz="1850" b="0" i="0" u="none" strike="noStrike" cap="none" dirty="0">
              <a:solidFill>
                <a:schemeClr val="accent6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 dirty="0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vyaire.com</a:t>
            </a:r>
            <a:endParaRPr sz="1800" b="0" i="0" u="none" strike="noStrike" cap="none" dirty="0">
              <a:solidFill>
                <a:schemeClr val="accent6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5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chemeClr val="accent6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1" i="0" u="none" strike="noStrike" cap="none" dirty="0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References:</a:t>
            </a:r>
            <a:endParaRPr sz="1800" b="0" i="0" u="none" strike="noStrike" cap="none" dirty="0">
              <a:solidFill>
                <a:schemeClr val="accent6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2" name="Google Shape;202;p37"/>
          <p:cNvSpPr/>
          <p:nvPr/>
        </p:nvSpPr>
        <p:spPr>
          <a:xfrm>
            <a:off x="8050194" y="0"/>
            <a:ext cx="6580505" cy="8229600"/>
          </a:xfrm>
          <a:custGeom>
            <a:avLst/>
            <a:gdLst/>
            <a:ahLst/>
            <a:cxnLst/>
            <a:rect l="l" t="t" r="r" b="b"/>
            <a:pathLst>
              <a:path w="6580505" h="8229600" extrusionOk="0">
                <a:moveTo>
                  <a:pt x="6580205" y="0"/>
                </a:moveTo>
                <a:lnTo>
                  <a:pt x="2244933" y="0"/>
                </a:lnTo>
                <a:lnTo>
                  <a:pt x="2211808" y="36009"/>
                </a:lnTo>
                <a:lnTo>
                  <a:pt x="2178905" y="72199"/>
                </a:lnTo>
                <a:lnTo>
                  <a:pt x="2146223" y="108567"/>
                </a:lnTo>
                <a:lnTo>
                  <a:pt x="2113765" y="145112"/>
                </a:lnTo>
                <a:lnTo>
                  <a:pt x="2081529" y="181833"/>
                </a:lnTo>
                <a:lnTo>
                  <a:pt x="2049518" y="218730"/>
                </a:lnTo>
                <a:lnTo>
                  <a:pt x="2017730" y="255800"/>
                </a:lnTo>
                <a:lnTo>
                  <a:pt x="1986168" y="293044"/>
                </a:lnTo>
                <a:lnTo>
                  <a:pt x="1954832" y="330458"/>
                </a:lnTo>
                <a:lnTo>
                  <a:pt x="1923721" y="368043"/>
                </a:lnTo>
                <a:lnTo>
                  <a:pt x="1892837" y="405798"/>
                </a:lnTo>
                <a:lnTo>
                  <a:pt x="1862181" y="443720"/>
                </a:lnTo>
                <a:lnTo>
                  <a:pt x="1831752" y="481809"/>
                </a:lnTo>
                <a:lnTo>
                  <a:pt x="1801552" y="520064"/>
                </a:lnTo>
                <a:lnTo>
                  <a:pt x="1771580" y="558484"/>
                </a:lnTo>
                <a:lnTo>
                  <a:pt x="1741839" y="597067"/>
                </a:lnTo>
                <a:lnTo>
                  <a:pt x="1712327" y="635812"/>
                </a:lnTo>
                <a:lnTo>
                  <a:pt x="1683046" y="674718"/>
                </a:lnTo>
                <a:lnTo>
                  <a:pt x="1653996" y="713784"/>
                </a:lnTo>
                <a:lnTo>
                  <a:pt x="1625178" y="753009"/>
                </a:lnTo>
                <a:lnTo>
                  <a:pt x="1596592" y="792391"/>
                </a:lnTo>
                <a:lnTo>
                  <a:pt x="1568240" y="831930"/>
                </a:lnTo>
                <a:lnTo>
                  <a:pt x="1540121" y="871624"/>
                </a:lnTo>
                <a:lnTo>
                  <a:pt x="1512236" y="911472"/>
                </a:lnTo>
                <a:lnTo>
                  <a:pt x="1484585" y="951473"/>
                </a:lnTo>
                <a:lnTo>
                  <a:pt x="1457170" y="991625"/>
                </a:lnTo>
                <a:lnTo>
                  <a:pt x="1429991" y="1031928"/>
                </a:lnTo>
                <a:lnTo>
                  <a:pt x="1403048" y="1072381"/>
                </a:lnTo>
                <a:lnTo>
                  <a:pt x="1376342" y="1112982"/>
                </a:lnTo>
                <a:lnTo>
                  <a:pt x="1349873" y="1153729"/>
                </a:lnTo>
                <a:lnTo>
                  <a:pt x="1323642" y="1194623"/>
                </a:lnTo>
                <a:lnTo>
                  <a:pt x="1297651" y="1235662"/>
                </a:lnTo>
                <a:lnTo>
                  <a:pt x="1271898" y="1276844"/>
                </a:lnTo>
                <a:lnTo>
                  <a:pt x="1246385" y="1318168"/>
                </a:lnTo>
                <a:lnTo>
                  <a:pt x="1221113" y="1359634"/>
                </a:lnTo>
                <a:lnTo>
                  <a:pt x="1196081" y="1401239"/>
                </a:lnTo>
                <a:lnTo>
                  <a:pt x="1171291" y="1442984"/>
                </a:lnTo>
                <a:lnTo>
                  <a:pt x="1146743" y="1484866"/>
                </a:lnTo>
                <a:lnTo>
                  <a:pt x="1122437" y="1526885"/>
                </a:lnTo>
                <a:lnTo>
                  <a:pt x="1098375" y="1569039"/>
                </a:lnTo>
                <a:lnTo>
                  <a:pt x="1074557" y="1611328"/>
                </a:lnTo>
                <a:lnTo>
                  <a:pt x="1050983" y="1653749"/>
                </a:lnTo>
                <a:lnTo>
                  <a:pt x="1027653" y="1696303"/>
                </a:lnTo>
                <a:lnTo>
                  <a:pt x="1004570" y="1738987"/>
                </a:lnTo>
                <a:lnTo>
                  <a:pt x="981732" y="1781800"/>
                </a:lnTo>
                <a:lnTo>
                  <a:pt x="959141" y="1824743"/>
                </a:lnTo>
                <a:lnTo>
                  <a:pt x="936797" y="1867812"/>
                </a:lnTo>
                <a:lnTo>
                  <a:pt x="914701" y="1911007"/>
                </a:lnTo>
                <a:lnTo>
                  <a:pt x="892853" y="1954328"/>
                </a:lnTo>
                <a:lnTo>
                  <a:pt x="871254" y="1997772"/>
                </a:lnTo>
                <a:lnTo>
                  <a:pt x="849905" y="2041338"/>
                </a:lnTo>
                <a:lnTo>
                  <a:pt x="828805" y="2085026"/>
                </a:lnTo>
                <a:lnTo>
                  <a:pt x="807956" y="2128835"/>
                </a:lnTo>
                <a:lnTo>
                  <a:pt x="787359" y="2172762"/>
                </a:lnTo>
                <a:lnTo>
                  <a:pt x="767013" y="2216807"/>
                </a:lnTo>
                <a:lnTo>
                  <a:pt x="746919" y="2260969"/>
                </a:lnTo>
                <a:lnTo>
                  <a:pt x="727078" y="2305247"/>
                </a:lnTo>
                <a:lnTo>
                  <a:pt x="707491" y="2349639"/>
                </a:lnTo>
                <a:lnTo>
                  <a:pt x="688158" y="2394144"/>
                </a:lnTo>
                <a:lnTo>
                  <a:pt x="669079" y="2438761"/>
                </a:lnTo>
                <a:lnTo>
                  <a:pt x="650255" y="2483489"/>
                </a:lnTo>
                <a:lnTo>
                  <a:pt x="631687" y="2528327"/>
                </a:lnTo>
                <a:lnTo>
                  <a:pt x="613376" y="2573274"/>
                </a:lnTo>
                <a:lnTo>
                  <a:pt x="595321" y="2618327"/>
                </a:lnTo>
                <a:lnTo>
                  <a:pt x="577524" y="2663487"/>
                </a:lnTo>
                <a:lnTo>
                  <a:pt x="559985" y="2708753"/>
                </a:lnTo>
                <a:lnTo>
                  <a:pt x="542704" y="2754122"/>
                </a:lnTo>
                <a:lnTo>
                  <a:pt x="525682" y="2799594"/>
                </a:lnTo>
                <a:lnTo>
                  <a:pt x="508920" y="2845167"/>
                </a:lnTo>
                <a:lnTo>
                  <a:pt x="492419" y="2890841"/>
                </a:lnTo>
                <a:lnTo>
                  <a:pt x="476178" y="2936614"/>
                </a:lnTo>
                <a:lnTo>
                  <a:pt x="460199" y="2982485"/>
                </a:lnTo>
                <a:lnTo>
                  <a:pt x="444481" y="3028453"/>
                </a:lnTo>
                <a:lnTo>
                  <a:pt x="429027" y="3074517"/>
                </a:lnTo>
                <a:lnTo>
                  <a:pt x="413835" y="3120675"/>
                </a:lnTo>
                <a:lnTo>
                  <a:pt x="398907" y="3166927"/>
                </a:lnTo>
                <a:lnTo>
                  <a:pt x="384243" y="3213271"/>
                </a:lnTo>
                <a:lnTo>
                  <a:pt x="369844" y="3259706"/>
                </a:lnTo>
                <a:lnTo>
                  <a:pt x="355711" y="3306231"/>
                </a:lnTo>
                <a:lnTo>
                  <a:pt x="341843" y="3352845"/>
                </a:lnTo>
                <a:lnTo>
                  <a:pt x="328242" y="3399546"/>
                </a:lnTo>
                <a:lnTo>
                  <a:pt x="314908" y="3446334"/>
                </a:lnTo>
                <a:lnTo>
                  <a:pt x="301842" y="3493207"/>
                </a:lnTo>
                <a:lnTo>
                  <a:pt x="289044" y="3540164"/>
                </a:lnTo>
                <a:lnTo>
                  <a:pt x="276515" y="3587204"/>
                </a:lnTo>
                <a:lnTo>
                  <a:pt x="264255" y="3634325"/>
                </a:lnTo>
                <a:lnTo>
                  <a:pt x="252265" y="3681528"/>
                </a:lnTo>
                <a:lnTo>
                  <a:pt x="240546" y="3728810"/>
                </a:lnTo>
                <a:lnTo>
                  <a:pt x="229098" y="3776169"/>
                </a:lnTo>
                <a:lnTo>
                  <a:pt x="217921" y="3823607"/>
                </a:lnTo>
                <a:lnTo>
                  <a:pt x="207017" y="3871120"/>
                </a:lnTo>
                <a:lnTo>
                  <a:pt x="196386" y="3918707"/>
                </a:lnTo>
                <a:lnTo>
                  <a:pt x="186027" y="3966369"/>
                </a:lnTo>
                <a:lnTo>
                  <a:pt x="175943" y="4014102"/>
                </a:lnTo>
                <a:lnTo>
                  <a:pt x="166133" y="4061907"/>
                </a:lnTo>
                <a:lnTo>
                  <a:pt x="156599" y="4109782"/>
                </a:lnTo>
                <a:lnTo>
                  <a:pt x="147340" y="4157726"/>
                </a:lnTo>
                <a:lnTo>
                  <a:pt x="138357" y="4205738"/>
                </a:lnTo>
                <a:lnTo>
                  <a:pt x="129651" y="4253816"/>
                </a:lnTo>
                <a:lnTo>
                  <a:pt x="121222" y="4301960"/>
                </a:lnTo>
                <a:lnTo>
                  <a:pt x="113072" y="4350168"/>
                </a:lnTo>
                <a:lnTo>
                  <a:pt x="105199" y="4398439"/>
                </a:lnTo>
                <a:lnTo>
                  <a:pt x="97606" y="4446772"/>
                </a:lnTo>
                <a:lnTo>
                  <a:pt x="90293" y="4495166"/>
                </a:lnTo>
                <a:lnTo>
                  <a:pt x="83259" y="4543620"/>
                </a:lnTo>
                <a:lnTo>
                  <a:pt x="76507" y="4592131"/>
                </a:lnTo>
                <a:lnTo>
                  <a:pt x="70036" y="4640700"/>
                </a:lnTo>
                <a:lnTo>
                  <a:pt x="63846" y="4689326"/>
                </a:lnTo>
                <a:lnTo>
                  <a:pt x="57940" y="4738006"/>
                </a:lnTo>
                <a:lnTo>
                  <a:pt x="52316" y="4786739"/>
                </a:lnTo>
                <a:lnTo>
                  <a:pt x="46976" y="4835526"/>
                </a:lnTo>
                <a:lnTo>
                  <a:pt x="41920" y="4884364"/>
                </a:lnTo>
                <a:lnTo>
                  <a:pt x="37148" y="4933252"/>
                </a:lnTo>
                <a:lnTo>
                  <a:pt x="32662" y="4982189"/>
                </a:lnTo>
                <a:lnTo>
                  <a:pt x="28462" y="5031174"/>
                </a:lnTo>
                <a:lnTo>
                  <a:pt x="24549" y="5080206"/>
                </a:lnTo>
                <a:lnTo>
                  <a:pt x="20922" y="5129284"/>
                </a:lnTo>
                <a:lnTo>
                  <a:pt x="17583" y="5178406"/>
                </a:lnTo>
                <a:lnTo>
                  <a:pt x="14533" y="5227571"/>
                </a:lnTo>
                <a:lnTo>
                  <a:pt x="11771" y="5276778"/>
                </a:lnTo>
                <a:lnTo>
                  <a:pt x="9298" y="5326026"/>
                </a:lnTo>
                <a:lnTo>
                  <a:pt x="7115" y="5375314"/>
                </a:lnTo>
                <a:lnTo>
                  <a:pt x="5223" y="5424641"/>
                </a:lnTo>
                <a:lnTo>
                  <a:pt x="3621" y="5474005"/>
                </a:lnTo>
                <a:lnTo>
                  <a:pt x="2311" y="5523405"/>
                </a:lnTo>
                <a:lnTo>
                  <a:pt x="1294" y="5572841"/>
                </a:lnTo>
                <a:lnTo>
                  <a:pt x="569" y="5622310"/>
                </a:lnTo>
                <a:lnTo>
                  <a:pt x="137" y="5671812"/>
                </a:lnTo>
                <a:lnTo>
                  <a:pt x="0" y="5721346"/>
                </a:lnTo>
                <a:lnTo>
                  <a:pt x="156" y="5770910"/>
                </a:lnTo>
                <a:lnTo>
                  <a:pt x="608" y="5820503"/>
                </a:lnTo>
                <a:lnTo>
                  <a:pt x="1355" y="5870125"/>
                </a:lnTo>
                <a:lnTo>
                  <a:pt x="2398" y="5919773"/>
                </a:lnTo>
                <a:lnTo>
                  <a:pt x="3739" y="5969447"/>
                </a:lnTo>
                <a:lnTo>
                  <a:pt x="5376" y="6019146"/>
                </a:lnTo>
                <a:lnTo>
                  <a:pt x="7311" y="6068868"/>
                </a:lnTo>
                <a:lnTo>
                  <a:pt x="9545" y="6118613"/>
                </a:lnTo>
                <a:lnTo>
                  <a:pt x="12077" y="6168378"/>
                </a:lnTo>
                <a:lnTo>
                  <a:pt x="14910" y="6218164"/>
                </a:lnTo>
                <a:lnTo>
                  <a:pt x="18042" y="6267968"/>
                </a:lnTo>
                <a:lnTo>
                  <a:pt x="21475" y="6317790"/>
                </a:lnTo>
                <a:lnTo>
                  <a:pt x="25209" y="6367629"/>
                </a:lnTo>
                <a:lnTo>
                  <a:pt x="29245" y="6417482"/>
                </a:lnTo>
                <a:lnTo>
                  <a:pt x="33584" y="6467350"/>
                </a:lnTo>
                <a:lnTo>
                  <a:pt x="38225" y="6517231"/>
                </a:lnTo>
                <a:lnTo>
                  <a:pt x="43170" y="6567123"/>
                </a:lnTo>
                <a:lnTo>
                  <a:pt x="48419" y="6617026"/>
                </a:lnTo>
                <a:lnTo>
                  <a:pt x="53973" y="6666939"/>
                </a:lnTo>
                <a:lnTo>
                  <a:pt x="59832" y="6716860"/>
                </a:lnTo>
                <a:lnTo>
                  <a:pt x="65997" y="6766788"/>
                </a:lnTo>
                <a:lnTo>
                  <a:pt x="72468" y="6816722"/>
                </a:lnTo>
                <a:lnTo>
                  <a:pt x="79246" y="6866660"/>
                </a:lnTo>
                <a:lnTo>
                  <a:pt x="86332" y="6916602"/>
                </a:lnTo>
                <a:lnTo>
                  <a:pt x="93726" y="6966547"/>
                </a:lnTo>
                <a:lnTo>
                  <a:pt x="101428" y="7016493"/>
                </a:lnTo>
                <a:lnTo>
                  <a:pt x="109440" y="7066439"/>
                </a:lnTo>
                <a:lnTo>
                  <a:pt x="117761" y="7116384"/>
                </a:lnTo>
                <a:lnTo>
                  <a:pt x="126393" y="7166327"/>
                </a:lnTo>
                <a:lnTo>
                  <a:pt x="135336" y="7216267"/>
                </a:lnTo>
                <a:lnTo>
                  <a:pt x="144192" y="7264666"/>
                </a:lnTo>
                <a:lnTo>
                  <a:pt x="153342" y="7313055"/>
                </a:lnTo>
                <a:lnTo>
                  <a:pt x="162788" y="7361433"/>
                </a:lnTo>
                <a:lnTo>
                  <a:pt x="172531" y="7409798"/>
                </a:lnTo>
                <a:lnTo>
                  <a:pt x="182571" y="7458151"/>
                </a:lnTo>
                <a:lnTo>
                  <a:pt x="192910" y="7506490"/>
                </a:lnTo>
                <a:lnTo>
                  <a:pt x="203549" y="7554816"/>
                </a:lnTo>
                <a:lnTo>
                  <a:pt x="214489" y="7603127"/>
                </a:lnTo>
                <a:lnTo>
                  <a:pt x="225730" y="7651423"/>
                </a:lnTo>
                <a:lnTo>
                  <a:pt x="237273" y="7699704"/>
                </a:lnTo>
                <a:lnTo>
                  <a:pt x="249121" y="7747968"/>
                </a:lnTo>
                <a:lnTo>
                  <a:pt x="261273" y="7796216"/>
                </a:lnTo>
                <a:lnTo>
                  <a:pt x="273730" y="7844446"/>
                </a:lnTo>
                <a:lnTo>
                  <a:pt x="286494" y="7892659"/>
                </a:lnTo>
                <a:lnTo>
                  <a:pt x="299566" y="7940853"/>
                </a:lnTo>
                <a:lnTo>
                  <a:pt x="312946" y="7989029"/>
                </a:lnTo>
                <a:lnTo>
                  <a:pt x="326636" y="8037184"/>
                </a:lnTo>
                <a:lnTo>
                  <a:pt x="340636" y="8085320"/>
                </a:lnTo>
                <a:lnTo>
                  <a:pt x="354948" y="8133434"/>
                </a:lnTo>
                <a:lnTo>
                  <a:pt x="369572" y="8181528"/>
                </a:lnTo>
                <a:lnTo>
                  <a:pt x="384510" y="8229600"/>
                </a:lnTo>
                <a:lnTo>
                  <a:pt x="6580205" y="8229600"/>
                </a:lnTo>
                <a:lnTo>
                  <a:pt x="6580205" y="0"/>
                </a:lnTo>
                <a:close/>
              </a:path>
            </a:pathLst>
          </a:custGeom>
          <a:solidFill>
            <a:srgbClr val="D5D5E8">
              <a:alpha val="18431"/>
            </a:srgbClr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40"/>
              <a:buFont typeface="Arial"/>
              <a:buNone/>
            </a:pPr>
            <a:endParaRPr sz="224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3" name="Google Shape;203;p37"/>
          <p:cNvSpPr txBox="1">
            <a:spLocks noGrp="1"/>
          </p:cNvSpPr>
          <p:nvPr>
            <p:ph type="body" idx="1"/>
          </p:nvPr>
        </p:nvSpPr>
        <p:spPr>
          <a:xfrm>
            <a:off x="896937" y="5266037"/>
            <a:ext cx="6949205" cy="15722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600"/>
              <a:buNone/>
              <a:defRPr sz="1800" b="0" i="0" u="none" strike="noStrike" cap="none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2"/>
              </a:buClr>
              <a:buSzPts val="1600"/>
              <a:buNone/>
              <a:defRPr sz="1600" b="0" i="0" u="none" strike="noStrike" cap="none">
                <a:solidFill>
                  <a:srgbClr val="A7A9AC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2"/>
              </a:buClr>
              <a:buSzPts val="1600"/>
              <a:buNone/>
              <a:defRPr sz="1600" b="0" i="0" u="none" strike="noStrike" cap="none">
                <a:solidFill>
                  <a:srgbClr val="A7A9AC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22860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2"/>
              </a:buClr>
              <a:buSzPts val="1600"/>
              <a:buNone/>
              <a:defRPr sz="1600" b="0" i="0" u="none" strike="noStrike" cap="none">
                <a:solidFill>
                  <a:srgbClr val="A7A9AC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22860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2"/>
              </a:buClr>
              <a:buSzPts val="1600"/>
              <a:buNone/>
              <a:defRPr sz="1600" b="0" i="0" u="none" strike="noStrike" cap="none">
                <a:solidFill>
                  <a:srgbClr val="A7A9AC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4" name="Google Shape;204;p37"/>
          <p:cNvSpPr txBox="1">
            <a:spLocks noGrp="1"/>
          </p:cNvSpPr>
          <p:nvPr>
            <p:ph type="body" idx="2"/>
          </p:nvPr>
        </p:nvSpPr>
        <p:spPr>
          <a:xfrm>
            <a:off x="882650" y="7098981"/>
            <a:ext cx="6963492" cy="4673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A7A9AC"/>
              </a:buClr>
              <a:buSzPts val="1800"/>
              <a:buNone/>
              <a:defRPr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SzPts val="2400"/>
              <a:buNone/>
              <a:defRPr sz="24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SzPts val="2400"/>
              <a:buNone/>
              <a:defRPr sz="24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2286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SzPts val="2400"/>
              <a:buNone/>
              <a:defRPr sz="24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2286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SzPts val="2400"/>
              <a:buNone/>
              <a:defRPr sz="24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05" name="Google Shape;205;p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895064" y="915981"/>
            <a:ext cx="4079574" cy="90031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International Slide">
  <p:cSld name="Closing International Slide"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41"/>
          <p:cNvSpPr txBox="1"/>
          <p:nvPr/>
        </p:nvSpPr>
        <p:spPr>
          <a:xfrm>
            <a:off x="882650" y="2652501"/>
            <a:ext cx="6034838" cy="23365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80137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</a:pPr>
            <a:r>
              <a:rPr lang="en-US" sz="2200" b="1" i="0" u="none" strike="noStrike" cap="none" dirty="0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Global Headquarters</a:t>
            </a:r>
            <a:endParaRPr sz="1400" b="0" i="0" u="none" strike="noStrike" cap="none" dirty="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2700" marR="801370" lvl="0" indent="0" algn="l" rtl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 dirty="0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Vyaire Medical, Inc.</a:t>
            </a:r>
            <a:endParaRPr sz="1400" b="0" i="0" u="none" strike="noStrike" cap="none" dirty="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2700" marR="801370" lvl="0" indent="0" algn="l" rtl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 dirty="0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26125 N. Riverwoods Blvd.</a:t>
            </a:r>
            <a:endParaRPr sz="1800" b="0" i="0" u="none" strike="noStrike" cap="none" dirty="0">
              <a:solidFill>
                <a:schemeClr val="accent6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2700" marR="375285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 dirty="0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Mettawa, IL 60045  USA</a:t>
            </a:r>
            <a:endParaRPr sz="1800" b="0" i="0" u="none" strike="noStrike" cap="none" dirty="0">
              <a:solidFill>
                <a:schemeClr val="accent6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30"/>
              </a:spcBef>
              <a:spcAft>
                <a:spcPts val="0"/>
              </a:spcAft>
              <a:buClr>
                <a:srgbClr val="000000"/>
              </a:buClr>
              <a:buSzPts val="1850"/>
              <a:buFont typeface="Arial"/>
              <a:buNone/>
            </a:pPr>
            <a:endParaRPr sz="1850" b="0" i="0" u="none" strike="noStrike" cap="none" dirty="0">
              <a:solidFill>
                <a:schemeClr val="accent6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 dirty="0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vyaire.com</a:t>
            </a:r>
            <a:endParaRPr sz="1800" b="0" i="0" u="none" strike="noStrike" cap="none" dirty="0">
              <a:solidFill>
                <a:schemeClr val="accent6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5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chemeClr val="accent6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1" i="0" u="none" strike="noStrike" cap="none" dirty="0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References:</a:t>
            </a:r>
            <a:endParaRPr sz="1800" b="0" i="0" u="none" strike="noStrike" cap="none" dirty="0">
              <a:solidFill>
                <a:schemeClr val="accent6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8" name="Google Shape;208;p41"/>
          <p:cNvSpPr/>
          <p:nvPr/>
        </p:nvSpPr>
        <p:spPr>
          <a:xfrm>
            <a:off x="8049895" y="0"/>
            <a:ext cx="6580505" cy="8229600"/>
          </a:xfrm>
          <a:custGeom>
            <a:avLst/>
            <a:gdLst/>
            <a:ahLst/>
            <a:cxnLst/>
            <a:rect l="l" t="t" r="r" b="b"/>
            <a:pathLst>
              <a:path w="6580505" h="8229600" extrusionOk="0">
                <a:moveTo>
                  <a:pt x="6580205" y="0"/>
                </a:moveTo>
                <a:lnTo>
                  <a:pt x="2244933" y="0"/>
                </a:lnTo>
                <a:lnTo>
                  <a:pt x="2211808" y="36009"/>
                </a:lnTo>
                <a:lnTo>
                  <a:pt x="2178905" y="72199"/>
                </a:lnTo>
                <a:lnTo>
                  <a:pt x="2146223" y="108567"/>
                </a:lnTo>
                <a:lnTo>
                  <a:pt x="2113765" y="145112"/>
                </a:lnTo>
                <a:lnTo>
                  <a:pt x="2081529" y="181833"/>
                </a:lnTo>
                <a:lnTo>
                  <a:pt x="2049518" y="218730"/>
                </a:lnTo>
                <a:lnTo>
                  <a:pt x="2017730" y="255800"/>
                </a:lnTo>
                <a:lnTo>
                  <a:pt x="1986168" y="293044"/>
                </a:lnTo>
                <a:lnTo>
                  <a:pt x="1954832" y="330458"/>
                </a:lnTo>
                <a:lnTo>
                  <a:pt x="1923721" y="368043"/>
                </a:lnTo>
                <a:lnTo>
                  <a:pt x="1892837" y="405798"/>
                </a:lnTo>
                <a:lnTo>
                  <a:pt x="1862181" y="443720"/>
                </a:lnTo>
                <a:lnTo>
                  <a:pt x="1831752" y="481809"/>
                </a:lnTo>
                <a:lnTo>
                  <a:pt x="1801552" y="520064"/>
                </a:lnTo>
                <a:lnTo>
                  <a:pt x="1771580" y="558484"/>
                </a:lnTo>
                <a:lnTo>
                  <a:pt x="1741839" y="597067"/>
                </a:lnTo>
                <a:lnTo>
                  <a:pt x="1712327" y="635812"/>
                </a:lnTo>
                <a:lnTo>
                  <a:pt x="1683046" y="674718"/>
                </a:lnTo>
                <a:lnTo>
                  <a:pt x="1653996" y="713784"/>
                </a:lnTo>
                <a:lnTo>
                  <a:pt x="1625178" y="753009"/>
                </a:lnTo>
                <a:lnTo>
                  <a:pt x="1596592" y="792391"/>
                </a:lnTo>
                <a:lnTo>
                  <a:pt x="1568240" y="831930"/>
                </a:lnTo>
                <a:lnTo>
                  <a:pt x="1540121" y="871624"/>
                </a:lnTo>
                <a:lnTo>
                  <a:pt x="1512236" y="911472"/>
                </a:lnTo>
                <a:lnTo>
                  <a:pt x="1484585" y="951473"/>
                </a:lnTo>
                <a:lnTo>
                  <a:pt x="1457170" y="991625"/>
                </a:lnTo>
                <a:lnTo>
                  <a:pt x="1429991" y="1031928"/>
                </a:lnTo>
                <a:lnTo>
                  <a:pt x="1403048" y="1072381"/>
                </a:lnTo>
                <a:lnTo>
                  <a:pt x="1376342" y="1112982"/>
                </a:lnTo>
                <a:lnTo>
                  <a:pt x="1349873" y="1153729"/>
                </a:lnTo>
                <a:lnTo>
                  <a:pt x="1323642" y="1194623"/>
                </a:lnTo>
                <a:lnTo>
                  <a:pt x="1297651" y="1235662"/>
                </a:lnTo>
                <a:lnTo>
                  <a:pt x="1271898" y="1276844"/>
                </a:lnTo>
                <a:lnTo>
                  <a:pt x="1246385" y="1318168"/>
                </a:lnTo>
                <a:lnTo>
                  <a:pt x="1221113" y="1359634"/>
                </a:lnTo>
                <a:lnTo>
                  <a:pt x="1196081" y="1401239"/>
                </a:lnTo>
                <a:lnTo>
                  <a:pt x="1171291" y="1442984"/>
                </a:lnTo>
                <a:lnTo>
                  <a:pt x="1146743" y="1484866"/>
                </a:lnTo>
                <a:lnTo>
                  <a:pt x="1122437" y="1526885"/>
                </a:lnTo>
                <a:lnTo>
                  <a:pt x="1098375" y="1569039"/>
                </a:lnTo>
                <a:lnTo>
                  <a:pt x="1074557" y="1611328"/>
                </a:lnTo>
                <a:lnTo>
                  <a:pt x="1050983" y="1653749"/>
                </a:lnTo>
                <a:lnTo>
                  <a:pt x="1027653" y="1696303"/>
                </a:lnTo>
                <a:lnTo>
                  <a:pt x="1004570" y="1738987"/>
                </a:lnTo>
                <a:lnTo>
                  <a:pt x="981732" y="1781800"/>
                </a:lnTo>
                <a:lnTo>
                  <a:pt x="959141" y="1824743"/>
                </a:lnTo>
                <a:lnTo>
                  <a:pt x="936797" y="1867812"/>
                </a:lnTo>
                <a:lnTo>
                  <a:pt x="914701" y="1911007"/>
                </a:lnTo>
                <a:lnTo>
                  <a:pt x="892853" y="1954328"/>
                </a:lnTo>
                <a:lnTo>
                  <a:pt x="871254" y="1997772"/>
                </a:lnTo>
                <a:lnTo>
                  <a:pt x="849905" y="2041338"/>
                </a:lnTo>
                <a:lnTo>
                  <a:pt x="828805" y="2085026"/>
                </a:lnTo>
                <a:lnTo>
                  <a:pt x="807956" y="2128835"/>
                </a:lnTo>
                <a:lnTo>
                  <a:pt x="787359" y="2172762"/>
                </a:lnTo>
                <a:lnTo>
                  <a:pt x="767013" y="2216807"/>
                </a:lnTo>
                <a:lnTo>
                  <a:pt x="746919" y="2260969"/>
                </a:lnTo>
                <a:lnTo>
                  <a:pt x="727078" y="2305247"/>
                </a:lnTo>
                <a:lnTo>
                  <a:pt x="707491" y="2349639"/>
                </a:lnTo>
                <a:lnTo>
                  <a:pt x="688158" y="2394144"/>
                </a:lnTo>
                <a:lnTo>
                  <a:pt x="669079" y="2438761"/>
                </a:lnTo>
                <a:lnTo>
                  <a:pt x="650255" y="2483489"/>
                </a:lnTo>
                <a:lnTo>
                  <a:pt x="631687" y="2528327"/>
                </a:lnTo>
                <a:lnTo>
                  <a:pt x="613376" y="2573274"/>
                </a:lnTo>
                <a:lnTo>
                  <a:pt x="595321" y="2618327"/>
                </a:lnTo>
                <a:lnTo>
                  <a:pt x="577524" y="2663487"/>
                </a:lnTo>
                <a:lnTo>
                  <a:pt x="559985" y="2708753"/>
                </a:lnTo>
                <a:lnTo>
                  <a:pt x="542704" y="2754122"/>
                </a:lnTo>
                <a:lnTo>
                  <a:pt x="525682" y="2799594"/>
                </a:lnTo>
                <a:lnTo>
                  <a:pt x="508920" y="2845167"/>
                </a:lnTo>
                <a:lnTo>
                  <a:pt x="492419" y="2890841"/>
                </a:lnTo>
                <a:lnTo>
                  <a:pt x="476178" y="2936614"/>
                </a:lnTo>
                <a:lnTo>
                  <a:pt x="460199" y="2982485"/>
                </a:lnTo>
                <a:lnTo>
                  <a:pt x="444481" y="3028453"/>
                </a:lnTo>
                <a:lnTo>
                  <a:pt x="429027" y="3074517"/>
                </a:lnTo>
                <a:lnTo>
                  <a:pt x="413835" y="3120675"/>
                </a:lnTo>
                <a:lnTo>
                  <a:pt x="398907" y="3166927"/>
                </a:lnTo>
                <a:lnTo>
                  <a:pt x="384243" y="3213271"/>
                </a:lnTo>
                <a:lnTo>
                  <a:pt x="369844" y="3259706"/>
                </a:lnTo>
                <a:lnTo>
                  <a:pt x="355711" y="3306231"/>
                </a:lnTo>
                <a:lnTo>
                  <a:pt x="341843" y="3352845"/>
                </a:lnTo>
                <a:lnTo>
                  <a:pt x="328242" y="3399546"/>
                </a:lnTo>
                <a:lnTo>
                  <a:pt x="314908" y="3446334"/>
                </a:lnTo>
                <a:lnTo>
                  <a:pt x="301842" y="3493207"/>
                </a:lnTo>
                <a:lnTo>
                  <a:pt x="289044" y="3540164"/>
                </a:lnTo>
                <a:lnTo>
                  <a:pt x="276515" y="3587204"/>
                </a:lnTo>
                <a:lnTo>
                  <a:pt x="264255" y="3634325"/>
                </a:lnTo>
                <a:lnTo>
                  <a:pt x="252265" y="3681528"/>
                </a:lnTo>
                <a:lnTo>
                  <a:pt x="240546" y="3728810"/>
                </a:lnTo>
                <a:lnTo>
                  <a:pt x="229098" y="3776169"/>
                </a:lnTo>
                <a:lnTo>
                  <a:pt x="217921" y="3823607"/>
                </a:lnTo>
                <a:lnTo>
                  <a:pt x="207017" y="3871120"/>
                </a:lnTo>
                <a:lnTo>
                  <a:pt x="196386" y="3918707"/>
                </a:lnTo>
                <a:lnTo>
                  <a:pt x="186027" y="3966369"/>
                </a:lnTo>
                <a:lnTo>
                  <a:pt x="175943" y="4014102"/>
                </a:lnTo>
                <a:lnTo>
                  <a:pt x="166133" y="4061907"/>
                </a:lnTo>
                <a:lnTo>
                  <a:pt x="156599" y="4109782"/>
                </a:lnTo>
                <a:lnTo>
                  <a:pt x="147340" y="4157726"/>
                </a:lnTo>
                <a:lnTo>
                  <a:pt x="138357" y="4205738"/>
                </a:lnTo>
                <a:lnTo>
                  <a:pt x="129651" y="4253816"/>
                </a:lnTo>
                <a:lnTo>
                  <a:pt x="121222" y="4301960"/>
                </a:lnTo>
                <a:lnTo>
                  <a:pt x="113072" y="4350168"/>
                </a:lnTo>
                <a:lnTo>
                  <a:pt x="105199" y="4398439"/>
                </a:lnTo>
                <a:lnTo>
                  <a:pt x="97606" y="4446772"/>
                </a:lnTo>
                <a:lnTo>
                  <a:pt x="90293" y="4495166"/>
                </a:lnTo>
                <a:lnTo>
                  <a:pt x="83259" y="4543620"/>
                </a:lnTo>
                <a:lnTo>
                  <a:pt x="76507" y="4592131"/>
                </a:lnTo>
                <a:lnTo>
                  <a:pt x="70036" y="4640700"/>
                </a:lnTo>
                <a:lnTo>
                  <a:pt x="63846" y="4689326"/>
                </a:lnTo>
                <a:lnTo>
                  <a:pt x="57940" y="4738006"/>
                </a:lnTo>
                <a:lnTo>
                  <a:pt x="52316" y="4786739"/>
                </a:lnTo>
                <a:lnTo>
                  <a:pt x="46976" y="4835526"/>
                </a:lnTo>
                <a:lnTo>
                  <a:pt x="41920" y="4884364"/>
                </a:lnTo>
                <a:lnTo>
                  <a:pt x="37148" y="4933252"/>
                </a:lnTo>
                <a:lnTo>
                  <a:pt x="32662" y="4982189"/>
                </a:lnTo>
                <a:lnTo>
                  <a:pt x="28462" y="5031174"/>
                </a:lnTo>
                <a:lnTo>
                  <a:pt x="24549" y="5080206"/>
                </a:lnTo>
                <a:lnTo>
                  <a:pt x="20922" y="5129284"/>
                </a:lnTo>
                <a:lnTo>
                  <a:pt x="17583" y="5178406"/>
                </a:lnTo>
                <a:lnTo>
                  <a:pt x="14533" y="5227571"/>
                </a:lnTo>
                <a:lnTo>
                  <a:pt x="11771" y="5276778"/>
                </a:lnTo>
                <a:lnTo>
                  <a:pt x="9298" y="5326026"/>
                </a:lnTo>
                <a:lnTo>
                  <a:pt x="7115" y="5375314"/>
                </a:lnTo>
                <a:lnTo>
                  <a:pt x="5223" y="5424641"/>
                </a:lnTo>
                <a:lnTo>
                  <a:pt x="3621" y="5474005"/>
                </a:lnTo>
                <a:lnTo>
                  <a:pt x="2311" y="5523405"/>
                </a:lnTo>
                <a:lnTo>
                  <a:pt x="1294" y="5572841"/>
                </a:lnTo>
                <a:lnTo>
                  <a:pt x="569" y="5622310"/>
                </a:lnTo>
                <a:lnTo>
                  <a:pt x="137" y="5671812"/>
                </a:lnTo>
                <a:lnTo>
                  <a:pt x="0" y="5721346"/>
                </a:lnTo>
                <a:lnTo>
                  <a:pt x="156" y="5770910"/>
                </a:lnTo>
                <a:lnTo>
                  <a:pt x="608" y="5820503"/>
                </a:lnTo>
                <a:lnTo>
                  <a:pt x="1355" y="5870125"/>
                </a:lnTo>
                <a:lnTo>
                  <a:pt x="2398" y="5919773"/>
                </a:lnTo>
                <a:lnTo>
                  <a:pt x="3739" y="5969447"/>
                </a:lnTo>
                <a:lnTo>
                  <a:pt x="5376" y="6019146"/>
                </a:lnTo>
                <a:lnTo>
                  <a:pt x="7311" y="6068868"/>
                </a:lnTo>
                <a:lnTo>
                  <a:pt x="9545" y="6118613"/>
                </a:lnTo>
                <a:lnTo>
                  <a:pt x="12077" y="6168378"/>
                </a:lnTo>
                <a:lnTo>
                  <a:pt x="14910" y="6218164"/>
                </a:lnTo>
                <a:lnTo>
                  <a:pt x="18042" y="6267968"/>
                </a:lnTo>
                <a:lnTo>
                  <a:pt x="21475" y="6317790"/>
                </a:lnTo>
                <a:lnTo>
                  <a:pt x="25209" y="6367629"/>
                </a:lnTo>
                <a:lnTo>
                  <a:pt x="29245" y="6417482"/>
                </a:lnTo>
                <a:lnTo>
                  <a:pt x="33584" y="6467350"/>
                </a:lnTo>
                <a:lnTo>
                  <a:pt x="38225" y="6517231"/>
                </a:lnTo>
                <a:lnTo>
                  <a:pt x="43170" y="6567123"/>
                </a:lnTo>
                <a:lnTo>
                  <a:pt x="48419" y="6617026"/>
                </a:lnTo>
                <a:lnTo>
                  <a:pt x="53973" y="6666939"/>
                </a:lnTo>
                <a:lnTo>
                  <a:pt x="59832" y="6716860"/>
                </a:lnTo>
                <a:lnTo>
                  <a:pt x="65997" y="6766788"/>
                </a:lnTo>
                <a:lnTo>
                  <a:pt x="72468" y="6816722"/>
                </a:lnTo>
                <a:lnTo>
                  <a:pt x="79246" y="6866660"/>
                </a:lnTo>
                <a:lnTo>
                  <a:pt x="86332" y="6916602"/>
                </a:lnTo>
                <a:lnTo>
                  <a:pt x="93726" y="6966547"/>
                </a:lnTo>
                <a:lnTo>
                  <a:pt x="101428" y="7016493"/>
                </a:lnTo>
                <a:lnTo>
                  <a:pt x="109440" y="7066439"/>
                </a:lnTo>
                <a:lnTo>
                  <a:pt x="117761" y="7116384"/>
                </a:lnTo>
                <a:lnTo>
                  <a:pt x="126393" y="7166327"/>
                </a:lnTo>
                <a:lnTo>
                  <a:pt x="135336" y="7216267"/>
                </a:lnTo>
                <a:lnTo>
                  <a:pt x="144192" y="7264666"/>
                </a:lnTo>
                <a:lnTo>
                  <a:pt x="153342" y="7313055"/>
                </a:lnTo>
                <a:lnTo>
                  <a:pt x="162788" y="7361433"/>
                </a:lnTo>
                <a:lnTo>
                  <a:pt x="172531" y="7409798"/>
                </a:lnTo>
                <a:lnTo>
                  <a:pt x="182571" y="7458151"/>
                </a:lnTo>
                <a:lnTo>
                  <a:pt x="192910" y="7506490"/>
                </a:lnTo>
                <a:lnTo>
                  <a:pt x="203549" y="7554816"/>
                </a:lnTo>
                <a:lnTo>
                  <a:pt x="214489" y="7603127"/>
                </a:lnTo>
                <a:lnTo>
                  <a:pt x="225730" y="7651423"/>
                </a:lnTo>
                <a:lnTo>
                  <a:pt x="237273" y="7699704"/>
                </a:lnTo>
                <a:lnTo>
                  <a:pt x="249121" y="7747968"/>
                </a:lnTo>
                <a:lnTo>
                  <a:pt x="261273" y="7796216"/>
                </a:lnTo>
                <a:lnTo>
                  <a:pt x="273730" y="7844446"/>
                </a:lnTo>
                <a:lnTo>
                  <a:pt x="286494" y="7892659"/>
                </a:lnTo>
                <a:lnTo>
                  <a:pt x="299566" y="7940853"/>
                </a:lnTo>
                <a:lnTo>
                  <a:pt x="312946" y="7989029"/>
                </a:lnTo>
                <a:lnTo>
                  <a:pt x="326636" y="8037184"/>
                </a:lnTo>
                <a:lnTo>
                  <a:pt x="340636" y="8085320"/>
                </a:lnTo>
                <a:lnTo>
                  <a:pt x="354948" y="8133434"/>
                </a:lnTo>
                <a:lnTo>
                  <a:pt x="369572" y="8181528"/>
                </a:lnTo>
                <a:lnTo>
                  <a:pt x="384510" y="8229600"/>
                </a:lnTo>
                <a:lnTo>
                  <a:pt x="6580205" y="8229600"/>
                </a:lnTo>
                <a:lnTo>
                  <a:pt x="6580205" y="0"/>
                </a:lnTo>
                <a:close/>
              </a:path>
            </a:pathLst>
          </a:custGeom>
          <a:solidFill>
            <a:srgbClr val="D5D5E8">
              <a:alpha val="18431"/>
            </a:srgbClr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40"/>
              <a:buFont typeface="Arial"/>
              <a:buNone/>
            </a:pPr>
            <a:endParaRPr sz="224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9" name="Google Shape;209;p41"/>
          <p:cNvSpPr txBox="1">
            <a:spLocks noGrp="1"/>
          </p:cNvSpPr>
          <p:nvPr>
            <p:ph type="body" idx="1"/>
          </p:nvPr>
        </p:nvSpPr>
        <p:spPr>
          <a:xfrm>
            <a:off x="896936" y="5266037"/>
            <a:ext cx="6949205" cy="15722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600"/>
              <a:buNone/>
              <a:defRPr sz="1800" b="0" i="0" u="none" strike="noStrike" cap="none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2"/>
              </a:buClr>
              <a:buSzPts val="1600"/>
              <a:buNone/>
              <a:defRPr sz="1600" b="0" i="0" u="none" strike="noStrike" cap="none">
                <a:solidFill>
                  <a:srgbClr val="A7A9AC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2"/>
              </a:buClr>
              <a:buSzPts val="1600"/>
              <a:buNone/>
              <a:defRPr sz="1600" b="0" i="0" u="none" strike="noStrike" cap="none">
                <a:solidFill>
                  <a:srgbClr val="A7A9AC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22860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2"/>
              </a:buClr>
              <a:buSzPts val="1600"/>
              <a:buNone/>
              <a:defRPr sz="1600" b="0" i="0" u="none" strike="noStrike" cap="none">
                <a:solidFill>
                  <a:srgbClr val="A7A9AC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22860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2"/>
              </a:buClr>
              <a:buSzPts val="1600"/>
              <a:buNone/>
              <a:defRPr sz="1600" b="0" i="0" u="none" strike="noStrike" cap="none">
                <a:solidFill>
                  <a:srgbClr val="A7A9AC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0" name="Google Shape;210;p41"/>
          <p:cNvSpPr txBox="1">
            <a:spLocks noGrp="1"/>
          </p:cNvSpPr>
          <p:nvPr>
            <p:ph type="body" idx="2"/>
          </p:nvPr>
        </p:nvSpPr>
        <p:spPr>
          <a:xfrm>
            <a:off x="882650" y="7098981"/>
            <a:ext cx="6949205" cy="4673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A7A9AC"/>
              </a:buClr>
              <a:buSzPts val="1800"/>
              <a:buNone/>
              <a:defRPr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SzPts val="2400"/>
              <a:buNone/>
              <a:defRPr sz="24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SzPts val="2400"/>
              <a:buNone/>
              <a:defRPr sz="24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2286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SzPts val="2400"/>
              <a:buNone/>
              <a:defRPr sz="24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2286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SzPts val="2400"/>
              <a:buNone/>
              <a:defRPr sz="24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11" name="Google Shape;211;p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895064" y="915981"/>
            <a:ext cx="4079574" cy="900319"/>
          </a:xfrm>
          <a:prstGeom prst="rect">
            <a:avLst/>
          </a:prstGeom>
          <a:noFill/>
          <a:ln>
            <a:noFill/>
          </a:ln>
        </p:spPr>
      </p:pic>
      <p:sp>
        <p:nvSpPr>
          <p:cNvPr id="212" name="Google Shape;212;p41"/>
          <p:cNvSpPr txBox="1"/>
          <p:nvPr/>
        </p:nvSpPr>
        <p:spPr>
          <a:xfrm>
            <a:off x="4031639" y="2652501"/>
            <a:ext cx="2692839" cy="12761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25" rIns="0" bIns="0" anchor="t" anchorCtr="0">
            <a:noAutofit/>
          </a:bodyPr>
          <a:lstStyle/>
          <a:p>
            <a:pPr marL="12700" marR="508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</a:pPr>
            <a:r>
              <a:rPr lang="en-US" sz="2200" b="1" i="0" u="none" strike="noStrike" cap="none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Name of Manufacturer </a:t>
            </a:r>
            <a:r>
              <a:rPr lang="en-US" sz="1800" b="0" i="0" u="none" strike="noStrike" cap="none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123 ABC Parkway 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2700" marR="508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</a:pPr>
            <a:r>
              <a:rPr lang="en-US" sz="1800" b="0" i="0" u="none" strike="noStrike" cap="none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City, State 12345</a:t>
            </a:r>
            <a:endParaRPr sz="1800" b="0" i="0" u="none" strike="noStrike" cap="none">
              <a:solidFill>
                <a:schemeClr val="accent6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USA</a:t>
            </a:r>
            <a:endParaRPr sz="1800" b="0" i="0" u="none" strike="noStrike" cap="none">
              <a:solidFill>
                <a:schemeClr val="accent6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3" name="Google Shape;213;p41"/>
          <p:cNvSpPr txBox="1"/>
          <p:nvPr/>
        </p:nvSpPr>
        <p:spPr>
          <a:xfrm>
            <a:off x="7630131" y="2652501"/>
            <a:ext cx="3710799" cy="12192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25" rIns="0" bIns="0" anchor="t" anchorCtr="0">
            <a:noAutofit/>
          </a:bodyPr>
          <a:lstStyle/>
          <a:p>
            <a:pPr marL="12700" marR="245109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</a:pPr>
            <a:r>
              <a:rPr lang="en-US" sz="2200" b="1" i="0" u="none" strike="noStrike" cap="none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Name of EC Rep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2700" marR="245109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</a:pPr>
            <a:r>
              <a:rPr lang="en-US" sz="1800" b="0" i="0" u="none" strike="noStrike" cap="none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123 ABC Parkway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2700" marR="245109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</a:pPr>
            <a:r>
              <a:rPr lang="en-US" sz="1800" b="1" i="0" u="none" strike="noStrike" cap="none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example: </a:t>
            </a:r>
            <a:r>
              <a:rPr lang="en-US" sz="1800" b="0" i="0" u="none" strike="noStrike" cap="none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Scheelevagen 17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2700" marR="245109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1" i="0" u="none" strike="noStrike" cap="none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example: </a:t>
            </a:r>
            <a:r>
              <a:rPr lang="en-US" sz="1800" b="0" i="0" u="none" strike="noStrike" cap="none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SE-223 Lund Sweden</a:t>
            </a:r>
            <a:endParaRPr sz="1800" b="0" i="0" u="none" strike="noStrike" cap="none">
              <a:solidFill>
                <a:schemeClr val="accent6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4" name="Google Shape;214;p41"/>
          <p:cNvSpPr txBox="1"/>
          <p:nvPr/>
        </p:nvSpPr>
        <p:spPr>
          <a:xfrm>
            <a:off x="11039245" y="2652501"/>
            <a:ext cx="2933748" cy="24461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25" rIns="0" bIns="0" anchor="t" anchorCtr="0">
            <a:no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</a:pPr>
            <a:r>
              <a:rPr lang="en-US" sz="2200" b="1" i="0" u="none" strike="noStrike" cap="none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Australian Headquarters</a:t>
            </a:r>
            <a:endParaRPr sz="2200" b="0" i="0" u="none" strike="noStrike" cap="none">
              <a:solidFill>
                <a:schemeClr val="accent6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Vyaire Medical Pty Ltd</a:t>
            </a:r>
            <a:endParaRPr sz="14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Suite 5.03, Building C</a:t>
            </a:r>
            <a:endParaRPr sz="14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11 Talavera Road</a:t>
            </a:r>
            <a:endParaRPr sz="14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Macquarie Park, NSW 2113</a:t>
            </a:r>
            <a:endParaRPr sz="14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Australia </a:t>
            </a:r>
            <a:endParaRPr sz="1800" b="0" i="0" u="none" strike="noStrike" cap="none">
              <a:solidFill>
                <a:schemeClr val="accent6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15" name="Google Shape;215;p4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760323" y="2734628"/>
            <a:ext cx="203862" cy="202340"/>
          </a:xfrm>
          <a:prstGeom prst="rect">
            <a:avLst/>
          </a:prstGeom>
          <a:noFill/>
          <a:ln>
            <a:noFill/>
          </a:ln>
        </p:spPr>
      </p:pic>
      <p:pic>
        <p:nvPicPr>
          <p:cNvPr id="216" name="Google Shape;216;p41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003404" y="2735800"/>
            <a:ext cx="540811" cy="201168"/>
          </a:xfrm>
          <a:prstGeom prst="rect">
            <a:avLst/>
          </a:prstGeom>
          <a:noFill/>
          <a:ln>
            <a:noFill/>
          </a:ln>
        </p:spPr>
      </p:pic>
      <p:pic>
        <p:nvPicPr>
          <p:cNvPr id="217" name="Google Shape;217;p41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0698935" y="2734628"/>
            <a:ext cx="300543" cy="2023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White Slide" preserve="1" userDrawn="1">
  <p:cSld name="1_White Slide"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" name="Google Shape;231;p35"/>
          <p:cNvSpPr txBox="1">
            <a:spLocks noGrp="1"/>
          </p:cNvSpPr>
          <p:nvPr>
            <p:ph type="title"/>
          </p:nvPr>
        </p:nvSpPr>
        <p:spPr>
          <a:xfrm>
            <a:off x="566399" y="438174"/>
            <a:ext cx="13133542" cy="5832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>
                <a:solidFill>
                  <a:schemeClr val="accent6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pic>
        <p:nvPicPr>
          <p:cNvPr id="232" name="Google Shape;232;p3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2472563" y="7650946"/>
            <a:ext cx="1833902" cy="404723"/>
          </a:xfrm>
          <a:prstGeom prst="rect">
            <a:avLst/>
          </a:prstGeom>
          <a:noFill/>
          <a:ln>
            <a:noFill/>
          </a:ln>
        </p:spPr>
      </p:pic>
      <p:sp>
        <p:nvSpPr>
          <p:cNvPr id="233" name="Google Shape;233;p35"/>
          <p:cNvSpPr txBox="1">
            <a:spLocks noGrp="1"/>
          </p:cNvSpPr>
          <p:nvPr>
            <p:ph type="body" idx="1"/>
          </p:nvPr>
        </p:nvSpPr>
        <p:spPr>
          <a:xfrm>
            <a:off x="566399" y="885082"/>
            <a:ext cx="13133542" cy="5212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>
                <a:solidFill>
                  <a:schemeClr val="accent3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SzPts val="2400"/>
              <a:buNone/>
              <a:defRPr sz="24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SzPts val="2400"/>
              <a:buNone/>
              <a:defRPr sz="24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2286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SzPts val="2400"/>
              <a:buNone/>
              <a:defRPr sz="24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2286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SzPts val="2400"/>
              <a:buNone/>
              <a:defRPr sz="24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4" name="Google Shape;234;p35"/>
          <p:cNvSpPr txBox="1">
            <a:spLocks noGrp="1"/>
          </p:cNvSpPr>
          <p:nvPr>
            <p:ph type="body" idx="2"/>
          </p:nvPr>
        </p:nvSpPr>
        <p:spPr>
          <a:xfrm>
            <a:off x="566739" y="1633538"/>
            <a:ext cx="6320950" cy="4562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noAutofit/>
          </a:bodyPr>
          <a:lstStyle>
            <a:lvl1pPr marL="571500" lvl="0" indent="-342900" algn="l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rgbClr val="002060"/>
              </a:buClr>
              <a:buSzPts val="2400"/>
              <a:buFont typeface="Arial" panose="020B0604020202020204" pitchFamily="34" charset="0"/>
              <a:buChar char="•"/>
              <a:defRPr sz="2400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2060"/>
              </a:buClr>
              <a:buSzPts val="1800"/>
              <a:buChar char="•"/>
              <a:defRPr>
                <a:solidFill>
                  <a:schemeClr val="accent6"/>
                </a:solidFill>
              </a:defRPr>
            </a:lvl2pPr>
            <a:lvl3pPr marL="1371600" lvl="2" indent="-3429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2060"/>
              </a:buClr>
              <a:buSzPts val="1800"/>
              <a:buChar char="•"/>
              <a:defRPr sz="1600">
                <a:solidFill>
                  <a:schemeClr val="accent6"/>
                </a:solidFill>
              </a:defRPr>
            </a:lvl3pPr>
            <a:lvl4pPr marL="1828800" lvl="3" indent="-3429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2060"/>
              </a:buClr>
              <a:buSzPts val="1800"/>
              <a:buChar char="•"/>
              <a:defRPr sz="1400">
                <a:solidFill>
                  <a:schemeClr val="accent6"/>
                </a:solidFill>
              </a:defRPr>
            </a:lvl4pPr>
            <a:lvl5pPr marL="2286000" lvl="4" indent="-3429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accent6"/>
                </a:solidFill>
              </a:defRPr>
            </a:lvl5pPr>
            <a:lvl6pPr marL="2743200" lvl="5" indent="-411479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SzPts val="2880"/>
              <a:buChar char="•"/>
              <a:defRPr/>
            </a:lvl6pPr>
            <a:lvl7pPr marL="3200400" lvl="6" indent="-411479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SzPts val="2880"/>
              <a:buChar char="•"/>
              <a:defRPr/>
            </a:lvl7pPr>
            <a:lvl8pPr marL="3657600" lvl="7" indent="-411479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SzPts val="2880"/>
              <a:buChar char="•"/>
              <a:defRPr/>
            </a:lvl8pPr>
            <a:lvl9pPr marL="4114800" lvl="8" indent="-411479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SzPts val="288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BB625E07-9B63-6544-9C83-ADBDD1E17D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36327" y="7791426"/>
            <a:ext cx="3290887" cy="438150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accent6"/>
                </a:solidFill>
              </a:defRPr>
            </a:lvl1pPr>
          </a:lstStyle>
          <a:p>
            <a:fld id="{D888F868-255D-B747-B6D4-EC545A4D9D0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Google Shape;234;p35">
            <a:extLst>
              <a:ext uri="{FF2B5EF4-FFF2-40B4-BE49-F238E27FC236}">
                <a16:creationId xmlns:a16="http://schemas.microsoft.com/office/drawing/2014/main" id="{15BEDB04-737C-46AA-A58C-EC0E8461165C}"/>
              </a:ext>
            </a:extLst>
          </p:cNvPr>
          <p:cNvSpPr txBox="1">
            <a:spLocks noGrp="1"/>
          </p:cNvSpPr>
          <p:nvPr>
            <p:ph type="body" idx="11"/>
          </p:nvPr>
        </p:nvSpPr>
        <p:spPr>
          <a:xfrm>
            <a:off x="7133170" y="1633537"/>
            <a:ext cx="6320950" cy="4562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noAutofit/>
          </a:bodyPr>
          <a:lstStyle>
            <a:lvl1pPr marL="571500" lvl="0" indent="-342900" algn="l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rgbClr val="002060"/>
              </a:buClr>
              <a:buSzPts val="2400"/>
              <a:buFont typeface="Arial" panose="020B0604020202020204" pitchFamily="34" charset="0"/>
              <a:buChar char="•"/>
              <a:defRPr sz="2400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2060"/>
              </a:buClr>
              <a:buSzPts val="1800"/>
              <a:buChar char="•"/>
              <a:defRPr>
                <a:solidFill>
                  <a:schemeClr val="accent6"/>
                </a:solidFill>
              </a:defRPr>
            </a:lvl2pPr>
            <a:lvl3pPr marL="1371600" lvl="2" indent="-3429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2060"/>
              </a:buClr>
              <a:buSzPts val="1800"/>
              <a:buChar char="•"/>
              <a:defRPr sz="1600">
                <a:solidFill>
                  <a:schemeClr val="accent6"/>
                </a:solidFill>
              </a:defRPr>
            </a:lvl3pPr>
            <a:lvl4pPr marL="1828800" lvl="3" indent="-3429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2060"/>
              </a:buClr>
              <a:buSzPts val="1800"/>
              <a:buChar char="•"/>
              <a:defRPr sz="1400">
                <a:solidFill>
                  <a:schemeClr val="accent6"/>
                </a:solidFill>
              </a:defRPr>
            </a:lvl4pPr>
            <a:lvl5pPr marL="2286000" lvl="4" indent="-3429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accent6"/>
                </a:solidFill>
              </a:defRPr>
            </a:lvl5pPr>
            <a:lvl6pPr marL="2743200" lvl="5" indent="-411479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SzPts val="2880"/>
              <a:buChar char="•"/>
              <a:defRPr/>
            </a:lvl6pPr>
            <a:lvl7pPr marL="3200400" lvl="6" indent="-411479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SzPts val="2880"/>
              <a:buChar char="•"/>
              <a:defRPr/>
            </a:lvl7pPr>
            <a:lvl8pPr marL="3657600" lvl="7" indent="-411479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SzPts val="2880"/>
              <a:buChar char="•"/>
              <a:defRPr/>
            </a:lvl8pPr>
            <a:lvl9pPr marL="4114800" lvl="8" indent="-411479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SzPts val="288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071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eople image">
  <p:cSld name="People image">
    <p:spTree>
      <p:nvGrpSpPr>
        <p:cNvPr id="1" name="Shape 2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" name="Google Shape;241;p42"/>
          <p:cNvSpPr/>
          <p:nvPr/>
        </p:nvSpPr>
        <p:spPr>
          <a:xfrm>
            <a:off x="5784010" y="0"/>
            <a:ext cx="8846390" cy="8229600"/>
          </a:xfrm>
          <a:prstGeom prst="rect">
            <a:avLst/>
          </a:prstGeom>
          <a:solidFill>
            <a:srgbClr val="FFFFFF"/>
          </a:solidFill>
          <a:ln>
            <a:noFill/>
          </a:ln>
        </p:spPr>
      </p:sp>
      <p:sp>
        <p:nvSpPr>
          <p:cNvPr id="242" name="Google Shape;242;p42"/>
          <p:cNvSpPr txBox="1"/>
          <p:nvPr/>
        </p:nvSpPr>
        <p:spPr>
          <a:xfrm>
            <a:off x="367745" y="7664450"/>
            <a:ext cx="8263255" cy="1410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000" b="0" i="0" u="none" strike="noStrike" cap="none">
                <a:solidFill>
                  <a:srgbClr val="A7A9AC"/>
                </a:solidFill>
                <a:latin typeface="Calibri"/>
                <a:ea typeface="Calibri"/>
                <a:cs typeface="Calibri"/>
                <a:sym typeface="Calibri"/>
              </a:rPr>
              <a:t>© 2021 Vyaire. Vyaire and the Vyaire logo are trademarks or registered trademarks of Vyaire Medical, Inc., or one of its affiliates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43" name="Google Shape;243;p42" descr="Chart, pie chart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 r="19681"/>
          <a:stretch/>
        </p:blipFill>
        <p:spPr>
          <a:xfrm>
            <a:off x="0" y="0"/>
            <a:ext cx="11751013" cy="8229600"/>
          </a:xfrm>
          <a:prstGeom prst="rect">
            <a:avLst/>
          </a:prstGeom>
          <a:noFill/>
          <a:ln>
            <a:noFill/>
          </a:ln>
        </p:spPr>
      </p:pic>
      <p:sp>
        <p:nvSpPr>
          <p:cNvPr id="244" name="Google Shape;244;p42"/>
          <p:cNvSpPr txBox="1">
            <a:spLocks noGrp="1"/>
          </p:cNvSpPr>
          <p:nvPr>
            <p:ph type="title"/>
          </p:nvPr>
        </p:nvSpPr>
        <p:spPr>
          <a:xfrm>
            <a:off x="566400" y="438174"/>
            <a:ext cx="6524802" cy="5832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45" name="Google Shape;245;p42"/>
          <p:cNvSpPr txBox="1">
            <a:spLocks noGrp="1"/>
          </p:cNvSpPr>
          <p:nvPr>
            <p:ph type="body" idx="1"/>
          </p:nvPr>
        </p:nvSpPr>
        <p:spPr>
          <a:xfrm>
            <a:off x="566400" y="885082"/>
            <a:ext cx="6524802" cy="5212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SzPts val="2400"/>
              <a:buNone/>
              <a:defRPr sz="24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SzPts val="2400"/>
              <a:buNone/>
              <a:defRPr sz="24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2286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SzPts val="2400"/>
              <a:buNone/>
              <a:defRPr sz="24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2286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SzPts val="2400"/>
              <a:buNone/>
              <a:defRPr sz="24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6" name="Google Shape;246;p42"/>
          <p:cNvSpPr txBox="1">
            <a:spLocks noGrp="1"/>
          </p:cNvSpPr>
          <p:nvPr>
            <p:ph type="body" idx="2"/>
          </p:nvPr>
        </p:nvSpPr>
        <p:spPr>
          <a:xfrm>
            <a:off x="566739" y="1633538"/>
            <a:ext cx="6524726" cy="4562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  <a:defRPr sz="2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>
                <a:solidFill>
                  <a:schemeClr val="lt1"/>
                </a:solidFill>
              </a:defRPr>
            </a:lvl2pPr>
            <a:lvl3pPr marL="1371600" lvl="2" indent="-3429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 sz="1600">
                <a:solidFill>
                  <a:schemeClr val="lt1"/>
                </a:solidFill>
              </a:defRPr>
            </a:lvl3pPr>
            <a:lvl4pPr marL="1828800" lvl="3" indent="-3429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 sz="1400">
                <a:solidFill>
                  <a:schemeClr val="lt1"/>
                </a:solidFill>
              </a:defRPr>
            </a:lvl4pPr>
            <a:lvl5pPr marL="2286000" lvl="4" indent="-3429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accent6"/>
                </a:solidFill>
              </a:defRPr>
            </a:lvl5pPr>
            <a:lvl6pPr marL="2743200" lvl="5" indent="-411479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SzPts val="2880"/>
              <a:buChar char="•"/>
              <a:defRPr/>
            </a:lvl6pPr>
            <a:lvl7pPr marL="3200400" lvl="6" indent="-411479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SzPts val="2880"/>
              <a:buChar char="•"/>
              <a:defRPr/>
            </a:lvl7pPr>
            <a:lvl8pPr marL="3657600" lvl="7" indent="-411479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SzPts val="2880"/>
              <a:buChar char="•"/>
              <a:defRPr/>
            </a:lvl8pPr>
            <a:lvl9pPr marL="4114800" lvl="8" indent="-411479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SzPts val="288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1">
            <a:extLst>
              <a:ext uri="{FF2B5EF4-FFF2-40B4-BE49-F238E27FC236}">
                <a16:creationId xmlns:a16="http://schemas.microsoft.com/office/drawing/2014/main" id="{881151B3-8DA1-184B-80F3-70E85E609E3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52368" y="7586439"/>
            <a:ext cx="3290887" cy="438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D888F868-255D-B747-B6D4-EC545A4D9D04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r reference: brand color palette">
  <p:cSld name="For reference: brand color palette"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p43"/>
          <p:cNvSpPr txBox="1">
            <a:spLocks noGrp="1"/>
          </p:cNvSpPr>
          <p:nvPr>
            <p:ph type="title"/>
          </p:nvPr>
        </p:nvSpPr>
        <p:spPr>
          <a:xfrm>
            <a:off x="566400" y="438174"/>
            <a:ext cx="7201534" cy="11226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>
                <a:solidFill>
                  <a:schemeClr val="accent3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graphicFrame>
        <p:nvGraphicFramePr>
          <p:cNvPr id="249" name="Google Shape;249;p43"/>
          <p:cNvGraphicFramePr/>
          <p:nvPr/>
        </p:nvGraphicFramePr>
        <p:xfrm>
          <a:off x="566400" y="1757547"/>
          <a:ext cx="10275800" cy="5435900"/>
        </p:xfrm>
        <a:graphic>
          <a:graphicData uri="http://schemas.openxmlformats.org/drawingml/2006/table">
            <a:tbl>
              <a:tblPr firstRow="1" bandRow="1">
                <a:noFill/>
                <a:tableStyleId>{6412692B-1159-4AD2-B6C6-219829DA5D30}</a:tableStyleId>
              </a:tblPr>
              <a:tblGrid>
                <a:gridCol w="29389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438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997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99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7857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1545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7179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endParaRPr sz="20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endParaRPr sz="20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endParaRPr sz="20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endParaRPr sz="20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1265555" marR="0" lvl="0" indent="0" algn="l" rtl="0">
                        <a:lnSpc>
                          <a:spcPct val="100000"/>
                        </a:lnSpc>
                        <a:spcBef>
                          <a:spcPts val="1715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r>
                        <a:rPr lang="en-US" sz="2000" b="1" u="none" strike="noStrike" cap="none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#130F32</a:t>
                      </a:r>
                      <a:endParaRPr sz="20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>
                    <a:lnR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B w="1905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130F3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endParaRPr sz="20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endParaRPr sz="20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endParaRPr sz="20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endParaRPr sz="20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1258570" marR="0" lvl="0" indent="0" algn="l" rtl="0">
                        <a:lnSpc>
                          <a:spcPct val="100000"/>
                        </a:lnSpc>
                        <a:spcBef>
                          <a:spcPts val="1715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r>
                        <a:rPr lang="en-US" sz="2000" b="1" u="none" strike="noStrike" cap="none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#2C2B94</a:t>
                      </a:r>
                      <a:endParaRPr sz="20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>
                    <a:lnL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B w="1905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2E3090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5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5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5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5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5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5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5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5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5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5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5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5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5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298450" marR="0" lvl="0" indent="0" algn="l" rtl="0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r>
                        <a:rPr lang="en-US" sz="1500" b="1" u="none" strike="noStrike" cap="none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#58595B</a:t>
                      </a:r>
                      <a:endParaRPr sz="15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>
                    <a:lnL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solidFill>
                      <a:srgbClr val="58595B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5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5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5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5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5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5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5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5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5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5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5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5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5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288290" marR="0" lvl="0" indent="0" algn="l" rtl="0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r>
                        <a:rPr lang="en-US" sz="1500" b="1" u="none" strike="noStrike" cap="none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#4D4D4F</a:t>
                      </a:r>
                      <a:endParaRPr sz="15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>
                    <a:lnL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solidFill>
                      <a:srgbClr val="70707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5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5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5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5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5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5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5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5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5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5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5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5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5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267970" marR="0" lvl="0" indent="0" algn="l" rtl="0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r>
                        <a:rPr lang="en-US" sz="1500" b="1" u="none" strike="noStrike" cap="none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#A7A9AC</a:t>
                      </a:r>
                      <a:endParaRPr sz="15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>
                    <a:lnL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solidFill>
                      <a:srgbClr val="A7A9AC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5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5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5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5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5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5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5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5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5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5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5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5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5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309880" marR="0" lvl="0" indent="0" algn="l" rtl="0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r>
                        <a:rPr lang="en-US" sz="1500" b="1" u="none" strike="noStrike" cap="none">
                          <a:solidFill>
                            <a:srgbClr val="A7A9AC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#F1F2F2</a:t>
                      </a:r>
                      <a:endParaRPr sz="15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>
                    <a:lnL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solidFill>
                      <a:srgbClr val="F1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179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endParaRPr sz="20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endParaRPr sz="20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endParaRPr sz="20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endParaRPr sz="20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1250950" marR="0" lvl="0" indent="0" algn="l" rtl="0">
                        <a:lnSpc>
                          <a:spcPct val="100000"/>
                        </a:lnSpc>
                        <a:spcBef>
                          <a:spcPts val="165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r>
                        <a:rPr lang="en-US" sz="2000" b="1" u="none" strike="noStrike" cap="none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#EA0029</a:t>
                      </a:r>
                      <a:endParaRPr sz="20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>
                    <a:lnR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905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EA002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endParaRPr sz="20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endParaRPr sz="20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endParaRPr sz="20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endParaRPr sz="20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1268095" marR="0" lvl="0" indent="0" algn="l" rtl="0">
                        <a:lnSpc>
                          <a:spcPct val="100000"/>
                        </a:lnSpc>
                        <a:spcBef>
                          <a:spcPts val="165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r>
                        <a:rPr lang="en-US" sz="2000" b="1" u="none" strike="noStrike" cap="none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#982324</a:t>
                      </a:r>
                      <a:endParaRPr sz="20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>
                    <a:lnL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905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97232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50" name="Google Shape;250;p43"/>
          <p:cNvSpPr txBox="1"/>
          <p:nvPr/>
        </p:nvSpPr>
        <p:spPr>
          <a:xfrm>
            <a:off x="10998096" y="1757547"/>
            <a:ext cx="3228543" cy="46166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 dirty="0">
                <a:solidFill>
                  <a:schemeClr val="accent2"/>
                </a:solidFill>
                <a:latin typeface="Calibri"/>
                <a:ea typeface="Calibri"/>
                <a:cs typeface="Calibri"/>
                <a:sym typeface="Calibri"/>
              </a:rPr>
              <a:t>GUIDELINES FOR USE OF RED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Use red sparingly to emphasize or accent a word or product attribute 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1" indent="-1968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85750" marR="0" lvl="1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No red for product names 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1968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Only use red as an accent in print and digital communications 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1968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Only use red text in print or digital materials on a gray or white background 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1968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Red cannot be used on a blue background 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1968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No full red backgrounds 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1968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No red in headlines in PPT presentation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CDD7B85-DC66-4F6E-8FA0-23541A28D4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542" y="1908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CDD7B85-DC66-4F6E-8FA0-23541A28D4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542" y="1908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BDE47-A11E-FE42-85BD-DB007C88386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70975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 Title Slide" preserve="1">
  <p:cSld name="1_BLUE Title Slide"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7" name="Google Shape;197;p33" descr="A picture containing logo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4630400" cy="8229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98" name="Google Shape;198;p3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52667" y="3146426"/>
            <a:ext cx="7092317" cy="1554480"/>
          </a:xfrm>
          <a:prstGeom prst="rect">
            <a:avLst/>
          </a:prstGeom>
          <a:noFill/>
          <a:ln>
            <a:noFill/>
          </a:ln>
        </p:spPr>
      </p:pic>
      <p:sp>
        <p:nvSpPr>
          <p:cNvPr id="199" name="Google Shape;199;p33"/>
          <p:cNvSpPr txBox="1"/>
          <p:nvPr/>
        </p:nvSpPr>
        <p:spPr>
          <a:xfrm>
            <a:off x="414777" y="7664452"/>
            <a:ext cx="8263255" cy="1410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000" b="0" i="0" u="none" strike="noStrike" cap="none">
                <a:solidFill>
                  <a:srgbClr val="A7A9AC"/>
                </a:solidFill>
                <a:latin typeface="Calibri"/>
                <a:ea typeface="Calibri"/>
                <a:cs typeface="Calibri"/>
                <a:sym typeface="Calibri"/>
              </a:rPr>
              <a:t>© 2021 Vyaire. Vyaire and the Vyaire logo are trademarks or registered trademarks of Vyaire Medical, Inc., or one of its affiliates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835349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28"/>
          <p:cNvSpPr txBox="1"/>
          <p:nvPr/>
        </p:nvSpPr>
        <p:spPr>
          <a:xfrm>
            <a:off x="648000" y="7712243"/>
            <a:ext cx="8263255" cy="1410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000" b="0" i="0" u="none" strike="noStrike" cap="none" dirty="0">
                <a:solidFill>
                  <a:srgbClr val="A7A9AC"/>
                </a:solidFill>
                <a:latin typeface="Calibri"/>
                <a:ea typeface="Calibri"/>
                <a:cs typeface="Calibri"/>
                <a:sym typeface="Calibri"/>
              </a:rPr>
              <a:t>© 2021 Vyaire. Vyaire and the Vyaire logo are trademarks or registered trademarks of Vyaire Medical, Inc., or one of its affiliates.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" name="Google Shape;7;p28"/>
          <p:cNvSpPr txBox="1">
            <a:spLocks noGrp="1"/>
          </p:cNvSpPr>
          <p:nvPr>
            <p:ph type="body" idx="1"/>
          </p:nvPr>
        </p:nvSpPr>
        <p:spPr>
          <a:xfrm>
            <a:off x="896937" y="3751325"/>
            <a:ext cx="5274310" cy="2707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noAutofit/>
          </a:bodyPr>
          <a:lstStyle>
            <a:lvl1pPr marL="457200" marR="0" lvl="0" indent="-342900" algn="l" rtl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411479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880"/>
              <a:buFont typeface="Arial"/>
              <a:buChar char="•"/>
              <a:defRPr sz="288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411479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880"/>
              <a:buFont typeface="Arial"/>
              <a:buChar char="•"/>
              <a:defRPr sz="288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411479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880"/>
              <a:buFont typeface="Arial"/>
              <a:buChar char="•"/>
              <a:defRPr sz="288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411479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880"/>
              <a:buFont typeface="Arial"/>
              <a:buChar char="•"/>
              <a:defRPr sz="288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8" name="Google Shape;8;p28"/>
          <p:cNvSpPr txBox="1">
            <a:spLocks noGrp="1"/>
          </p:cNvSpPr>
          <p:nvPr>
            <p:ph type="title"/>
          </p:nvPr>
        </p:nvSpPr>
        <p:spPr>
          <a:xfrm>
            <a:off x="694800" y="468000"/>
            <a:ext cx="13309958" cy="11226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A0029"/>
              </a:buClr>
              <a:buSzPts val="3600"/>
              <a:buFont typeface="Calibri"/>
              <a:buNone/>
              <a:defRPr sz="3600" b="1" i="0" u="none" strike="noStrike" cap="none">
                <a:solidFill>
                  <a:srgbClr val="EA0029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dirty="0"/>
              <a:t>Title</a:t>
            </a:r>
            <a:endParaRPr dirty="0"/>
          </a:p>
        </p:txBody>
      </p:sp>
      <p:pic>
        <p:nvPicPr>
          <p:cNvPr id="9" name="Google Shape;232;p35">
            <a:extLst>
              <a:ext uri="{FF2B5EF4-FFF2-40B4-BE49-F238E27FC236}">
                <a16:creationId xmlns:a16="http://schemas.microsoft.com/office/drawing/2014/main" id="{0B5904F7-25E3-4A6B-BD24-DFF4DC357467}"/>
              </a:ext>
            </a:extLst>
          </p:cNvPr>
          <p:cNvPicPr preferRelativeResize="0"/>
          <p:nvPr userDrawn="1"/>
        </p:nvPicPr>
        <p:blipFill rotWithShape="1">
          <a:blip r:embed="rId19">
            <a:alphaModFix/>
          </a:blip>
          <a:srcRect/>
          <a:stretch/>
        </p:blipFill>
        <p:spPr>
          <a:xfrm>
            <a:off x="12472563" y="7650946"/>
            <a:ext cx="1833902" cy="404723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78" r:id="rId1"/>
    <p:sldLayoutId id="2147483649" r:id="rId2"/>
    <p:sldLayoutId id="2147483671" r:id="rId3"/>
    <p:sldLayoutId id="2147483672" r:id="rId4"/>
    <p:sldLayoutId id="2147483679" r:id="rId5"/>
    <p:sldLayoutId id="2147483676" r:id="rId6"/>
    <p:sldLayoutId id="2147483677" r:id="rId7"/>
    <p:sldLayoutId id="2147483680" r:id="rId8"/>
    <p:sldLayoutId id="2147483682" r:id="rId9"/>
    <p:sldLayoutId id="2147483691" r:id="rId10"/>
    <p:sldLayoutId id="2147483707" r:id="rId11"/>
    <p:sldLayoutId id="2147483708" r:id="rId12"/>
    <p:sldLayoutId id="2147483709" r:id="rId13"/>
    <p:sldLayoutId id="2147483710" r:id="rId14"/>
    <p:sldLayoutId id="2147483711" r:id="rId15"/>
    <p:sldLayoutId id="2147483712" r:id="rId16"/>
    <p:sldLayoutId id="2147483713" r:id="rId17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ctr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lang="en-GB" sz="3200" b="0" i="0" u="none" strike="noStrike" cap="none" dirty="0">
          <a:solidFill>
            <a:srgbClr val="130F32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45.png"/><Relationship Id="rId3" Type="http://schemas.openxmlformats.org/officeDocument/2006/relationships/image" Target="../media/image35.png"/><Relationship Id="rId7" Type="http://schemas.openxmlformats.org/officeDocument/2006/relationships/image" Target="../media/image39.jpg"/><Relationship Id="rId12" Type="http://schemas.openxmlformats.org/officeDocument/2006/relationships/image" Target="../media/image44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38.png"/><Relationship Id="rId11" Type="http://schemas.openxmlformats.org/officeDocument/2006/relationships/image" Target="../media/image43.jpg"/><Relationship Id="rId5" Type="http://schemas.openxmlformats.org/officeDocument/2006/relationships/image" Target="../media/image37.png"/><Relationship Id="rId15" Type="http://schemas.openxmlformats.org/officeDocument/2006/relationships/image" Target="../media/image47.png"/><Relationship Id="rId10" Type="http://schemas.openxmlformats.org/officeDocument/2006/relationships/image" Target="../media/image42.jpg"/><Relationship Id="rId4" Type="http://schemas.openxmlformats.org/officeDocument/2006/relationships/image" Target="../media/image36.png"/><Relationship Id="rId9" Type="http://schemas.openxmlformats.org/officeDocument/2006/relationships/image" Target="../media/image41.png"/><Relationship Id="rId14" Type="http://schemas.openxmlformats.org/officeDocument/2006/relationships/image" Target="../media/image4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13" Type="http://schemas.openxmlformats.org/officeDocument/2006/relationships/image" Target="../media/image58.png"/><Relationship Id="rId3" Type="http://schemas.openxmlformats.org/officeDocument/2006/relationships/image" Target="../media/image49.png"/><Relationship Id="rId7" Type="http://schemas.openxmlformats.org/officeDocument/2006/relationships/image" Target="../media/image53.png"/><Relationship Id="rId12" Type="http://schemas.openxmlformats.org/officeDocument/2006/relationships/image" Target="../media/image57.png"/><Relationship Id="rId2" Type="http://schemas.openxmlformats.org/officeDocument/2006/relationships/image" Target="../media/image48.png"/><Relationship Id="rId16" Type="http://schemas.openxmlformats.org/officeDocument/2006/relationships/image" Target="../media/image61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52.png"/><Relationship Id="rId11" Type="http://schemas.openxmlformats.org/officeDocument/2006/relationships/image" Target="../media/image56.png"/><Relationship Id="rId5" Type="http://schemas.openxmlformats.org/officeDocument/2006/relationships/image" Target="../media/image51.png"/><Relationship Id="rId15" Type="http://schemas.openxmlformats.org/officeDocument/2006/relationships/image" Target="../media/image60.png"/><Relationship Id="rId10" Type="http://schemas.openxmlformats.org/officeDocument/2006/relationships/image" Target="../media/image55.png"/><Relationship Id="rId4" Type="http://schemas.openxmlformats.org/officeDocument/2006/relationships/image" Target="../media/image50.png"/><Relationship Id="rId9" Type="http://schemas.openxmlformats.org/officeDocument/2006/relationships/image" Target="../media/image41.png"/><Relationship Id="rId14" Type="http://schemas.openxmlformats.org/officeDocument/2006/relationships/image" Target="../media/image59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openxmlformats.org/officeDocument/2006/relationships/image" Target="../media/image63.jpg"/><Relationship Id="rId7" Type="http://schemas.openxmlformats.org/officeDocument/2006/relationships/image" Target="../media/image67.png"/><Relationship Id="rId2" Type="http://schemas.openxmlformats.org/officeDocument/2006/relationships/image" Target="../media/image62.jp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66.jpg"/><Relationship Id="rId5" Type="http://schemas.openxmlformats.org/officeDocument/2006/relationships/image" Target="../media/image65.png"/><Relationship Id="rId4" Type="http://schemas.openxmlformats.org/officeDocument/2006/relationships/image" Target="../media/image64.jpg"/><Relationship Id="rId9" Type="http://schemas.openxmlformats.org/officeDocument/2006/relationships/image" Target="../media/image6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png"/><Relationship Id="rId3" Type="http://schemas.openxmlformats.org/officeDocument/2006/relationships/image" Target="../media/image71.png"/><Relationship Id="rId7" Type="http://schemas.openxmlformats.org/officeDocument/2006/relationships/image" Target="../media/image75.png"/><Relationship Id="rId12" Type="http://schemas.openxmlformats.org/officeDocument/2006/relationships/image" Target="../media/image80.jp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4.png"/><Relationship Id="rId11" Type="http://schemas.openxmlformats.org/officeDocument/2006/relationships/image" Target="../media/image79.png"/><Relationship Id="rId5" Type="http://schemas.openxmlformats.org/officeDocument/2006/relationships/image" Target="../media/image73.png"/><Relationship Id="rId10" Type="http://schemas.openxmlformats.org/officeDocument/2006/relationships/image" Target="../media/image78.png"/><Relationship Id="rId4" Type="http://schemas.openxmlformats.org/officeDocument/2006/relationships/image" Target="../media/image72.png"/><Relationship Id="rId9" Type="http://schemas.openxmlformats.org/officeDocument/2006/relationships/image" Target="../media/image7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83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jpeg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jpeg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jpeg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jpeg"/><Relationship Id="rId1" Type="http://schemas.openxmlformats.org/officeDocument/2006/relationships/slideLayout" Target="../slideLayouts/slideLayout1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90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who.int/gpsc/country_work/gpsc_ccisc_fact_sheet_en.pdf" TargetMode="External"/><Relationship Id="rId2" Type="http://schemas.openxmlformats.org/officeDocument/2006/relationships/hyperlink" Target="http://www.healthypeople.gov/2020/topicsobjectives2020/overview.aspx?topicid=17" TargetMode="External"/><Relationship Id="rId1" Type="http://schemas.openxmlformats.org/officeDocument/2006/relationships/slideLayout" Target="../slideLayouts/slideLayout10.xml"/><Relationship Id="rId6" Type="http://schemas.openxmlformats.org/officeDocument/2006/relationships/hyperlink" Target="http://www.ncbi.nlm.nih.gov/pubmed/7794498" TargetMode="External"/><Relationship Id="rId5" Type="http://schemas.openxmlformats.org/officeDocument/2006/relationships/hyperlink" Target="http://www.safecarecampaign.org/SSI.html" TargetMode="External"/><Relationship Id="rId4" Type="http://schemas.openxmlformats.org/officeDocument/2006/relationships/hyperlink" Target="http://health.howstuffworks.com/medicine/5-infectious-diseases-you-might-get-in-er.htm" TargetMode="Externa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jp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95.jpg"/><Relationship Id="rId5" Type="http://schemas.openxmlformats.org/officeDocument/2006/relationships/image" Target="../media/image94.jpg"/><Relationship Id="rId4" Type="http://schemas.openxmlformats.org/officeDocument/2006/relationships/image" Target="../media/image93.jp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jpeg"/><Relationship Id="rId1" Type="http://schemas.openxmlformats.org/officeDocument/2006/relationships/slideLayout" Target="../slideLayouts/slideLayout10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png"/><Relationship Id="rId3" Type="http://schemas.openxmlformats.org/officeDocument/2006/relationships/image" Target="../media/image98.png"/><Relationship Id="rId7" Type="http://schemas.openxmlformats.org/officeDocument/2006/relationships/image" Target="../media/image102.png"/><Relationship Id="rId12" Type="http://schemas.openxmlformats.org/officeDocument/2006/relationships/image" Target="../media/image10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01.png"/><Relationship Id="rId11" Type="http://schemas.openxmlformats.org/officeDocument/2006/relationships/image" Target="../media/image106.png"/><Relationship Id="rId5" Type="http://schemas.openxmlformats.org/officeDocument/2006/relationships/image" Target="../media/image100.png"/><Relationship Id="rId10" Type="http://schemas.openxmlformats.org/officeDocument/2006/relationships/image" Target="../media/image105.png"/><Relationship Id="rId4" Type="http://schemas.openxmlformats.org/officeDocument/2006/relationships/image" Target="../media/image99.png"/><Relationship Id="rId9" Type="http://schemas.openxmlformats.org/officeDocument/2006/relationships/image" Target="../media/image104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10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10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png"/><Relationship Id="rId3" Type="http://schemas.openxmlformats.org/officeDocument/2006/relationships/image" Target="../media/image71.png"/><Relationship Id="rId7" Type="http://schemas.openxmlformats.org/officeDocument/2006/relationships/image" Target="../media/image75.png"/><Relationship Id="rId12" Type="http://schemas.openxmlformats.org/officeDocument/2006/relationships/image" Target="../media/image109.jp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4.png"/><Relationship Id="rId11" Type="http://schemas.openxmlformats.org/officeDocument/2006/relationships/image" Target="../media/image79.png"/><Relationship Id="rId5" Type="http://schemas.openxmlformats.org/officeDocument/2006/relationships/image" Target="../media/image73.png"/><Relationship Id="rId10" Type="http://schemas.openxmlformats.org/officeDocument/2006/relationships/image" Target="../media/image78.png"/><Relationship Id="rId4" Type="http://schemas.openxmlformats.org/officeDocument/2006/relationships/image" Target="../media/image72.png"/><Relationship Id="rId9" Type="http://schemas.openxmlformats.org/officeDocument/2006/relationships/image" Target="../media/image77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6.jpg"/><Relationship Id="rId13" Type="http://schemas.openxmlformats.org/officeDocument/2006/relationships/image" Target="../media/image121.jpg"/><Relationship Id="rId3" Type="http://schemas.openxmlformats.org/officeDocument/2006/relationships/image" Target="../media/image111.png"/><Relationship Id="rId7" Type="http://schemas.openxmlformats.org/officeDocument/2006/relationships/image" Target="../media/image115.png"/><Relationship Id="rId12" Type="http://schemas.openxmlformats.org/officeDocument/2006/relationships/image" Target="../media/image120.jpg"/><Relationship Id="rId2" Type="http://schemas.openxmlformats.org/officeDocument/2006/relationships/image" Target="../media/image110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14.png"/><Relationship Id="rId11" Type="http://schemas.openxmlformats.org/officeDocument/2006/relationships/image" Target="../media/image119.png"/><Relationship Id="rId5" Type="http://schemas.openxmlformats.org/officeDocument/2006/relationships/image" Target="../media/image113.png"/><Relationship Id="rId10" Type="http://schemas.openxmlformats.org/officeDocument/2006/relationships/image" Target="../media/image118.png"/><Relationship Id="rId4" Type="http://schemas.openxmlformats.org/officeDocument/2006/relationships/image" Target="../media/image112.png"/><Relationship Id="rId9" Type="http://schemas.openxmlformats.org/officeDocument/2006/relationships/image" Target="../media/image117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jpg"/><Relationship Id="rId2" Type="http://schemas.openxmlformats.org/officeDocument/2006/relationships/image" Target="../media/image122.jpg"/><Relationship Id="rId1" Type="http://schemas.openxmlformats.org/officeDocument/2006/relationships/slideLayout" Target="../slideLayouts/slideLayout8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4.jpg"/><Relationship Id="rId1" Type="http://schemas.openxmlformats.org/officeDocument/2006/relationships/slideLayout" Target="../slideLayouts/slideLayout8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5.png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6.png"/><Relationship Id="rId1" Type="http://schemas.openxmlformats.org/officeDocument/2006/relationships/slideLayout" Target="../slideLayouts/slideLayout8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8.jpeg"/><Relationship Id="rId1" Type="http://schemas.openxmlformats.org/officeDocument/2006/relationships/slideLayout" Target="../slideLayouts/slideLayout14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31.jpeg"/><Relationship Id="rId4" Type="http://schemas.openxmlformats.org/officeDocument/2006/relationships/image" Target="../media/image130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3.png"/><Relationship Id="rId7" Type="http://schemas.openxmlformats.org/officeDocument/2006/relationships/image" Target="../media/image137.emf"/><Relationship Id="rId2" Type="http://schemas.openxmlformats.org/officeDocument/2006/relationships/image" Target="../media/image132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36.png"/><Relationship Id="rId5" Type="http://schemas.openxmlformats.org/officeDocument/2006/relationships/image" Target="../media/image135.jpeg"/><Relationship Id="rId4" Type="http://schemas.openxmlformats.org/officeDocument/2006/relationships/image" Target="../media/image134.pn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0.jpeg"/><Relationship Id="rId3" Type="http://schemas.openxmlformats.org/officeDocument/2006/relationships/slide" Target="slide63.xml"/><Relationship Id="rId7" Type="http://schemas.openxmlformats.org/officeDocument/2006/relationships/slide" Target="slide69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39.jpeg"/><Relationship Id="rId5" Type="http://schemas.openxmlformats.org/officeDocument/2006/relationships/slide" Target="slide66.xml"/><Relationship Id="rId10" Type="http://schemas.openxmlformats.org/officeDocument/2006/relationships/image" Target="../media/image142.jpeg"/><Relationship Id="rId4" Type="http://schemas.openxmlformats.org/officeDocument/2006/relationships/image" Target="../media/image138.jpeg"/><Relationship Id="rId9" Type="http://schemas.openxmlformats.org/officeDocument/2006/relationships/image" Target="../media/image141.jpe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9.jpeg"/><Relationship Id="rId3" Type="http://schemas.openxmlformats.org/officeDocument/2006/relationships/image" Target="../media/image144.jpeg"/><Relationship Id="rId7" Type="http://schemas.openxmlformats.org/officeDocument/2006/relationships/image" Target="../media/image148.jpeg"/><Relationship Id="rId2" Type="http://schemas.openxmlformats.org/officeDocument/2006/relationships/image" Target="../media/image143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47.jpeg"/><Relationship Id="rId5" Type="http://schemas.openxmlformats.org/officeDocument/2006/relationships/image" Target="../media/image146.jpeg"/><Relationship Id="rId4" Type="http://schemas.openxmlformats.org/officeDocument/2006/relationships/image" Target="../media/image145.jpeg"/><Relationship Id="rId9" Type="http://schemas.openxmlformats.org/officeDocument/2006/relationships/image" Target="../media/image150.jpe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52.png"/><Relationship Id="rId5" Type="http://schemas.openxmlformats.org/officeDocument/2006/relationships/oleObject" Target="../embeddings/oleObject3.bin"/><Relationship Id="rId4" Type="http://schemas.openxmlformats.org/officeDocument/2006/relationships/image" Target="../media/image151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3.jpeg"/><Relationship Id="rId1" Type="http://schemas.openxmlformats.org/officeDocument/2006/relationships/slideLayout" Target="../slideLayouts/slideLayout13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5.png"/><Relationship Id="rId2" Type="http://schemas.openxmlformats.org/officeDocument/2006/relationships/image" Target="../media/image154.jpe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56.jpe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8.png"/><Relationship Id="rId2" Type="http://schemas.openxmlformats.org/officeDocument/2006/relationships/image" Target="../media/image157.jpe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60.jpeg"/><Relationship Id="rId4" Type="http://schemas.openxmlformats.org/officeDocument/2006/relationships/image" Target="../media/image159.jpe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2.jpeg"/><Relationship Id="rId2" Type="http://schemas.openxmlformats.org/officeDocument/2006/relationships/image" Target="../media/image161.jpeg"/><Relationship Id="rId1" Type="http://schemas.openxmlformats.org/officeDocument/2006/relationships/slideLayout" Target="../slideLayouts/slideLayout13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3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4.jpe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3.jpeg"/><Relationship Id="rId1" Type="http://schemas.openxmlformats.org/officeDocument/2006/relationships/slideLayout" Target="../slideLayouts/slideLayout13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5.jpeg"/><Relationship Id="rId1" Type="http://schemas.openxmlformats.org/officeDocument/2006/relationships/slideLayout" Target="../slideLayouts/slideLayout14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7.jpeg"/><Relationship Id="rId2" Type="http://schemas.openxmlformats.org/officeDocument/2006/relationships/image" Target="../media/image166.jpe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68.jpeg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9.jpeg"/><Relationship Id="rId1" Type="http://schemas.openxmlformats.org/officeDocument/2006/relationships/slideLayout" Target="../slideLayouts/slideLayout14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0.jpeg"/><Relationship Id="rId1" Type="http://schemas.openxmlformats.org/officeDocument/2006/relationships/slideLayout" Target="../slideLayouts/slideLayout13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1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42.jpeg"/><Relationship Id="rId4" Type="http://schemas.openxmlformats.org/officeDocument/2006/relationships/image" Target="../media/image172.jpe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4.jpeg"/><Relationship Id="rId2" Type="http://schemas.openxmlformats.org/officeDocument/2006/relationships/image" Target="../media/image173.jpe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75.jpe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0.jpeg"/><Relationship Id="rId2" Type="http://schemas.openxmlformats.org/officeDocument/2006/relationships/image" Target="../media/image149.jpe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77.jpeg"/><Relationship Id="rId4" Type="http://schemas.openxmlformats.org/officeDocument/2006/relationships/image" Target="../media/image176.jpeg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8.jpg"/><Relationship Id="rId1" Type="http://schemas.openxmlformats.org/officeDocument/2006/relationships/slideLayout" Target="../slideLayouts/slideLayout10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png"/><Relationship Id="rId2" Type="http://schemas.openxmlformats.org/officeDocument/2006/relationships/image" Target="../media/image179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11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2.png"/><Relationship Id="rId2" Type="http://schemas.openxmlformats.org/officeDocument/2006/relationships/image" Target="../media/image181.png"/><Relationship Id="rId1" Type="http://schemas.openxmlformats.org/officeDocument/2006/relationships/slideLayout" Target="../slideLayouts/slideLayout15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4.png"/><Relationship Id="rId2" Type="http://schemas.openxmlformats.org/officeDocument/2006/relationships/image" Target="../media/image183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86.png"/><Relationship Id="rId4" Type="http://schemas.openxmlformats.org/officeDocument/2006/relationships/image" Target="../media/image185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8.png"/><Relationship Id="rId2" Type="http://schemas.openxmlformats.org/officeDocument/2006/relationships/image" Target="../media/image187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89.png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0.png"/><Relationship Id="rId1" Type="http://schemas.openxmlformats.org/officeDocument/2006/relationships/slideLayout" Target="../slideLayouts/slideLayout10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2.png"/><Relationship Id="rId2" Type="http://schemas.openxmlformats.org/officeDocument/2006/relationships/image" Target="../media/image191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95.png"/><Relationship Id="rId5" Type="http://schemas.openxmlformats.org/officeDocument/2006/relationships/image" Target="../media/image194.png"/><Relationship Id="rId4" Type="http://schemas.openxmlformats.org/officeDocument/2006/relationships/image" Target="../media/image193.pn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7.png"/><Relationship Id="rId2" Type="http://schemas.openxmlformats.org/officeDocument/2006/relationships/image" Target="../media/image196.png"/><Relationship Id="rId1" Type="http://schemas.openxmlformats.org/officeDocument/2006/relationships/slideLayout" Target="../slideLayouts/slideLayout10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9.jpeg"/><Relationship Id="rId2" Type="http://schemas.openxmlformats.org/officeDocument/2006/relationships/image" Target="../media/image198.jpeg"/><Relationship Id="rId1" Type="http://schemas.openxmlformats.org/officeDocument/2006/relationships/slideLayout" Target="../slideLayouts/slideLayout14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1.png"/><Relationship Id="rId2" Type="http://schemas.openxmlformats.org/officeDocument/2006/relationships/image" Target="../media/image200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02.png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3.jpeg"/><Relationship Id="rId1" Type="http://schemas.openxmlformats.org/officeDocument/2006/relationships/slideLayout" Target="../slideLayouts/slideLayout14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4.jpe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7" Type="http://schemas.openxmlformats.org/officeDocument/2006/relationships/image" Target="../media/image18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7.jpg"/><Relationship Id="rId5" Type="http://schemas.openxmlformats.org/officeDocument/2006/relationships/image" Target="../media/image16.jpg"/><Relationship Id="rId4" Type="http://schemas.openxmlformats.org/officeDocument/2006/relationships/image" Target="../media/image15.jpg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5.jpeg"/><Relationship Id="rId1" Type="http://schemas.openxmlformats.org/officeDocument/2006/relationships/slideLayout" Target="../slideLayouts/slideLayout14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6.jpeg"/><Relationship Id="rId1" Type="http://schemas.openxmlformats.org/officeDocument/2006/relationships/slideLayout" Target="../slideLayouts/slideLayout14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7.jpeg"/><Relationship Id="rId1" Type="http://schemas.openxmlformats.org/officeDocument/2006/relationships/slideLayout" Target="../slideLayouts/slideLayout14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9.jpeg"/><Relationship Id="rId2" Type="http://schemas.openxmlformats.org/officeDocument/2006/relationships/image" Target="../media/image208.jpe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11.jpeg"/><Relationship Id="rId4" Type="http://schemas.openxmlformats.org/officeDocument/2006/relationships/image" Target="../media/image210.jpeg"/></Relationships>
</file>

<file path=ppt/slides/_rels/slide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8.png"/><Relationship Id="rId3" Type="http://schemas.openxmlformats.org/officeDocument/2006/relationships/image" Target="../media/image213.png"/><Relationship Id="rId7" Type="http://schemas.openxmlformats.org/officeDocument/2006/relationships/image" Target="../media/image217.png"/><Relationship Id="rId2" Type="http://schemas.openxmlformats.org/officeDocument/2006/relationships/image" Target="../media/image212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16.png"/><Relationship Id="rId5" Type="http://schemas.openxmlformats.org/officeDocument/2006/relationships/image" Target="../media/image215.png"/><Relationship Id="rId4" Type="http://schemas.openxmlformats.org/officeDocument/2006/relationships/image" Target="../media/image214.png"/></Relationships>
</file>

<file path=ppt/slides/_rels/slide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5.png"/><Relationship Id="rId3" Type="http://schemas.openxmlformats.org/officeDocument/2006/relationships/image" Target="../media/image220.png"/><Relationship Id="rId7" Type="http://schemas.openxmlformats.org/officeDocument/2006/relationships/image" Target="../media/image224.png"/><Relationship Id="rId2" Type="http://schemas.openxmlformats.org/officeDocument/2006/relationships/image" Target="../media/image219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23.png"/><Relationship Id="rId5" Type="http://schemas.openxmlformats.org/officeDocument/2006/relationships/image" Target="../media/image222.png"/><Relationship Id="rId4" Type="http://schemas.openxmlformats.org/officeDocument/2006/relationships/image" Target="../media/image221.png"/><Relationship Id="rId9" Type="http://schemas.openxmlformats.org/officeDocument/2006/relationships/image" Target="../media/image226.png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51.png"/><Relationship Id="rId4" Type="http://schemas.openxmlformats.org/officeDocument/2006/relationships/oleObject" Target="../embeddings/oleObject4.bin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9.png"/><Relationship Id="rId2" Type="http://schemas.openxmlformats.org/officeDocument/2006/relationships/image" Target="../media/image228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30.png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2.png"/><Relationship Id="rId2" Type="http://schemas.openxmlformats.org/officeDocument/2006/relationships/image" Target="../media/image231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33.pn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image" Target="../media/image147.jpe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3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jpg"/><Relationship Id="rId7" Type="http://schemas.openxmlformats.org/officeDocument/2006/relationships/image" Target="../media/image24.jpg"/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3.jpg"/><Relationship Id="rId5" Type="http://schemas.openxmlformats.org/officeDocument/2006/relationships/image" Target="../media/image22.jpg"/><Relationship Id="rId4" Type="http://schemas.openxmlformats.org/officeDocument/2006/relationships/image" Target="../media/image21.jpg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6.wmf"/><Relationship Id="rId2" Type="http://schemas.openxmlformats.org/officeDocument/2006/relationships/image" Target="../media/image235.wmf"/><Relationship Id="rId1" Type="http://schemas.openxmlformats.org/officeDocument/2006/relationships/slideLayout" Target="../slideLayouts/slideLayout14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7.jpeg"/><Relationship Id="rId1" Type="http://schemas.openxmlformats.org/officeDocument/2006/relationships/slideLayout" Target="../slideLayouts/slideLayout13.xml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8.jpeg"/><Relationship Id="rId1" Type="http://schemas.openxmlformats.org/officeDocument/2006/relationships/slideLayout" Target="../slideLayouts/slideLayout14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9.jpeg"/><Relationship Id="rId1" Type="http://schemas.openxmlformats.org/officeDocument/2006/relationships/slideLayout" Target="../slideLayouts/slideLayout13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0.jpeg"/><Relationship Id="rId1" Type="http://schemas.openxmlformats.org/officeDocument/2006/relationships/slideLayout" Target="../slideLayouts/slideLayout14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Relationship Id="rId9" Type="http://schemas.openxmlformats.org/officeDocument/2006/relationships/image" Target="../media/image3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46B825-406A-4FF1-997F-55CDC077CB2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82650" y="2613755"/>
            <a:ext cx="9302750" cy="2128520"/>
          </a:xfrm>
        </p:spPr>
        <p:txBody>
          <a:bodyPr/>
          <a:lstStyle/>
          <a:p>
            <a:r>
              <a:rPr lang="en-US"/>
              <a:t>DCAR/ECG </a:t>
            </a:r>
            <a:r>
              <a:rPr lang="en-US" dirty="0"/>
              <a:t>Training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AC8D25B-E45B-423A-AE93-304AA26A3AB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19163" y="5753100"/>
            <a:ext cx="5526087" cy="1032590"/>
          </a:xfrm>
        </p:spPr>
        <p:txBody>
          <a:bodyPr/>
          <a:lstStyle/>
          <a:p>
            <a:r>
              <a:rPr lang="en-GB" dirty="0"/>
              <a:t>Marie-Louise Bluffield</a:t>
            </a:r>
          </a:p>
          <a:p>
            <a:r>
              <a:rPr lang="en-GB" dirty="0"/>
              <a:t>EMEAC Senior Product Specialist - Sedation</a:t>
            </a:r>
          </a:p>
        </p:txBody>
      </p:sp>
    </p:spTree>
    <p:extLst>
      <p:ext uri="{BB962C8B-B14F-4D97-AF65-F5344CB8AC3E}">
        <p14:creationId xmlns:p14="http://schemas.microsoft.com/office/powerpoint/2010/main" val="36105411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57505" y="700170"/>
            <a:ext cx="8151368" cy="600164"/>
          </a:xfrm>
          <a:prstGeom prst="rect">
            <a:avLst/>
          </a:prstGeom>
        </p:spPr>
        <p:txBody>
          <a:bodyPr spcFirstLastPara="1" vert="horz" wrap="square" lIns="0" tIns="20320" rIns="0" bIns="0" rtlCol="0" anchor="ctr" anchorCtr="0">
            <a:spAutoFit/>
          </a:bodyPr>
          <a:lstStyle/>
          <a:p>
            <a:pPr marL="20320">
              <a:lnSpc>
                <a:spcPct val="100000"/>
              </a:lnSpc>
              <a:spcBef>
                <a:spcPts val="160"/>
              </a:spcBef>
            </a:pPr>
            <a:r>
              <a:rPr u="none" dirty="0"/>
              <a:t>300 series cables and</a:t>
            </a:r>
            <a:r>
              <a:rPr spc="-72" dirty="0"/>
              <a:t> </a:t>
            </a:r>
            <a:r>
              <a:rPr u="none" dirty="0"/>
              <a:t>leadwires</a:t>
            </a:r>
          </a:p>
        </p:txBody>
      </p:sp>
      <p:sp>
        <p:nvSpPr>
          <p:cNvPr id="3" name="object 3"/>
          <p:cNvSpPr/>
          <p:nvPr/>
        </p:nvSpPr>
        <p:spPr>
          <a:xfrm>
            <a:off x="6569048" y="5692445"/>
            <a:ext cx="1675181" cy="1371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4" name="object 4"/>
          <p:cNvSpPr/>
          <p:nvPr/>
        </p:nvSpPr>
        <p:spPr>
          <a:xfrm>
            <a:off x="2349399" y="1554480"/>
            <a:ext cx="10148824" cy="1684528"/>
          </a:xfrm>
          <a:custGeom>
            <a:avLst/>
            <a:gdLst/>
            <a:ahLst/>
            <a:cxnLst/>
            <a:rect l="l" t="t" r="r" b="b"/>
            <a:pathLst>
              <a:path w="6343015" h="1052830">
                <a:moveTo>
                  <a:pt x="0" y="1052322"/>
                </a:moveTo>
                <a:lnTo>
                  <a:pt x="6342887" y="1052322"/>
                </a:lnTo>
                <a:lnTo>
                  <a:pt x="6342887" y="0"/>
                </a:lnTo>
                <a:lnTo>
                  <a:pt x="0" y="0"/>
                </a:lnTo>
                <a:lnTo>
                  <a:pt x="0" y="1052322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5" name="object 5"/>
          <p:cNvSpPr txBox="1"/>
          <p:nvPr/>
        </p:nvSpPr>
        <p:spPr>
          <a:xfrm>
            <a:off x="2559914" y="1535378"/>
            <a:ext cx="1447800" cy="352917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>
              <a:spcBef>
                <a:spcPts val="160"/>
              </a:spcBef>
            </a:pPr>
            <a:r>
              <a:rPr sz="2160" dirty="0">
                <a:solidFill>
                  <a:srgbClr val="006FC0"/>
                </a:solidFill>
                <a:latin typeface="Verdana"/>
                <a:cs typeface="Verdana"/>
              </a:rPr>
              <a:t>300</a:t>
            </a:r>
            <a:r>
              <a:rPr sz="2160" spc="-128" dirty="0">
                <a:solidFill>
                  <a:srgbClr val="006FC0"/>
                </a:solidFill>
                <a:latin typeface="Verdana"/>
                <a:cs typeface="Verdana"/>
              </a:rPr>
              <a:t> </a:t>
            </a:r>
            <a:r>
              <a:rPr sz="2160" dirty="0">
                <a:solidFill>
                  <a:srgbClr val="006FC0"/>
                </a:solidFill>
                <a:latin typeface="Verdana"/>
                <a:cs typeface="Verdana"/>
              </a:rPr>
              <a:t>series</a:t>
            </a:r>
            <a:endParaRPr sz="2160">
              <a:latin typeface="Verdana"/>
              <a:cs typeface="Verdana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11305642" y="1654454"/>
            <a:ext cx="1132637" cy="148376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7" name="object 7"/>
          <p:cNvSpPr/>
          <p:nvPr/>
        </p:nvSpPr>
        <p:spPr>
          <a:xfrm>
            <a:off x="7926017" y="1838553"/>
            <a:ext cx="911962" cy="134477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8" name="object 8"/>
          <p:cNvSpPr/>
          <p:nvPr/>
        </p:nvSpPr>
        <p:spPr>
          <a:xfrm>
            <a:off x="8956243" y="1717853"/>
            <a:ext cx="1009498" cy="1445971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9" name="object 9"/>
          <p:cNvSpPr/>
          <p:nvPr/>
        </p:nvSpPr>
        <p:spPr>
          <a:xfrm>
            <a:off x="4600042" y="1638604"/>
            <a:ext cx="964386" cy="87172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0" name="object 10"/>
          <p:cNvSpPr txBox="1"/>
          <p:nvPr/>
        </p:nvSpPr>
        <p:spPr>
          <a:xfrm>
            <a:off x="5781446" y="1801976"/>
            <a:ext cx="856488" cy="222625"/>
          </a:xfrm>
          <a:prstGeom prst="rect">
            <a:avLst/>
          </a:prstGeom>
        </p:spPr>
        <p:txBody>
          <a:bodyPr vert="horz" wrap="square" lIns="0" tIns="25400" rIns="0" bIns="0" rtlCol="0">
            <a:spAutoFit/>
          </a:bodyPr>
          <a:lstStyle/>
          <a:p>
            <a:pPr>
              <a:spcBef>
                <a:spcPts val="200"/>
              </a:spcBef>
            </a:pPr>
            <a:r>
              <a:rPr sz="1280" spc="16" dirty="0">
                <a:solidFill>
                  <a:srgbClr val="28467B"/>
                </a:solidFill>
                <a:latin typeface="Verdana"/>
                <a:cs typeface="Verdana"/>
              </a:rPr>
              <a:t>Cardiocap</a:t>
            </a:r>
            <a:endParaRPr sz="1280">
              <a:latin typeface="Verdana"/>
              <a:cs typeface="Verdana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6202070" y="2232356"/>
            <a:ext cx="731520" cy="93146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2" name="object 12"/>
          <p:cNvSpPr/>
          <p:nvPr/>
        </p:nvSpPr>
        <p:spPr>
          <a:xfrm>
            <a:off x="10348568" y="1733702"/>
            <a:ext cx="568147" cy="1383790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3" name="object 13"/>
          <p:cNvSpPr/>
          <p:nvPr/>
        </p:nvSpPr>
        <p:spPr>
          <a:xfrm>
            <a:off x="2377441" y="3245511"/>
            <a:ext cx="10148824" cy="679704"/>
          </a:xfrm>
          <a:custGeom>
            <a:avLst/>
            <a:gdLst/>
            <a:ahLst/>
            <a:cxnLst/>
            <a:rect l="l" t="t" r="r" b="b"/>
            <a:pathLst>
              <a:path w="6343015" h="424814">
                <a:moveTo>
                  <a:pt x="0" y="424434"/>
                </a:moveTo>
                <a:lnTo>
                  <a:pt x="6342888" y="424434"/>
                </a:lnTo>
                <a:lnTo>
                  <a:pt x="6342888" y="0"/>
                </a:lnTo>
                <a:lnTo>
                  <a:pt x="0" y="0"/>
                </a:lnTo>
                <a:lnTo>
                  <a:pt x="0" y="424434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4" name="object 14"/>
          <p:cNvSpPr/>
          <p:nvPr/>
        </p:nvSpPr>
        <p:spPr>
          <a:xfrm>
            <a:off x="2332328" y="2617622"/>
            <a:ext cx="1020470" cy="1310640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5" name="object 15"/>
          <p:cNvSpPr txBox="1"/>
          <p:nvPr/>
        </p:nvSpPr>
        <p:spPr>
          <a:xfrm>
            <a:off x="2377441" y="2562758"/>
            <a:ext cx="10148824" cy="1145955"/>
          </a:xfrm>
          <a:prstGeom prst="rect">
            <a:avLst/>
          </a:prstGeom>
        </p:spPr>
        <p:txBody>
          <a:bodyPr vert="horz" wrap="square" lIns="0" tIns="25400" rIns="0" bIns="0" rtlCol="0">
            <a:spAutoFit/>
          </a:bodyPr>
          <a:lstStyle/>
          <a:p>
            <a:pPr marL="2717800">
              <a:spcBef>
                <a:spcPts val="200"/>
              </a:spcBef>
            </a:pPr>
            <a:r>
              <a:rPr sz="1280" spc="16" dirty="0">
                <a:solidFill>
                  <a:srgbClr val="28467B"/>
                </a:solidFill>
                <a:latin typeface="Verdana"/>
                <a:cs typeface="Verdana"/>
              </a:rPr>
              <a:t>AS/3,</a:t>
            </a:r>
            <a:r>
              <a:rPr sz="1280" spc="-24" dirty="0">
                <a:solidFill>
                  <a:srgbClr val="28467B"/>
                </a:solidFill>
                <a:latin typeface="Verdana"/>
                <a:cs typeface="Verdana"/>
              </a:rPr>
              <a:t> </a:t>
            </a:r>
            <a:r>
              <a:rPr sz="1280" spc="16" dirty="0">
                <a:solidFill>
                  <a:srgbClr val="28467B"/>
                </a:solidFill>
                <a:latin typeface="Verdana"/>
                <a:cs typeface="Verdana"/>
              </a:rPr>
              <a:t>CS/3,</a:t>
            </a:r>
            <a:endParaRPr sz="1280" dirty="0">
              <a:latin typeface="Verdana"/>
              <a:cs typeface="Verdana"/>
            </a:endParaRPr>
          </a:p>
          <a:p>
            <a:pPr marL="2717800">
              <a:spcBef>
                <a:spcPts val="48"/>
              </a:spcBef>
            </a:pPr>
            <a:r>
              <a:rPr sz="1280" spc="24" dirty="0">
                <a:solidFill>
                  <a:srgbClr val="28467B"/>
                </a:solidFill>
                <a:latin typeface="Verdana"/>
                <a:cs typeface="Verdana"/>
              </a:rPr>
              <a:t>S/5</a:t>
            </a:r>
            <a:r>
              <a:rPr sz="1280" spc="-8" dirty="0">
                <a:solidFill>
                  <a:srgbClr val="28467B"/>
                </a:solidFill>
                <a:latin typeface="Verdana"/>
                <a:cs typeface="Verdana"/>
              </a:rPr>
              <a:t> </a:t>
            </a:r>
            <a:r>
              <a:rPr sz="1280" spc="16" dirty="0">
                <a:solidFill>
                  <a:srgbClr val="28467B"/>
                </a:solidFill>
                <a:latin typeface="Verdana"/>
                <a:cs typeface="Verdana"/>
              </a:rPr>
              <a:t>Light</a:t>
            </a:r>
            <a:endParaRPr sz="1280" dirty="0">
              <a:latin typeface="Verdana"/>
              <a:cs typeface="Verdana"/>
            </a:endParaRPr>
          </a:p>
          <a:p>
            <a:pPr>
              <a:spcBef>
                <a:spcPts val="32"/>
              </a:spcBef>
            </a:pPr>
            <a:endParaRPr sz="1760" dirty="0">
              <a:latin typeface="Verdana"/>
              <a:cs typeface="Verdana"/>
            </a:endParaRPr>
          </a:p>
          <a:p>
            <a:pPr marL="887984">
              <a:spcBef>
                <a:spcPts val="8"/>
              </a:spcBef>
            </a:pPr>
            <a:r>
              <a:rPr sz="1280" spc="24" dirty="0">
                <a:solidFill>
                  <a:srgbClr val="28467B"/>
                </a:solidFill>
                <a:latin typeface="Verdana"/>
                <a:cs typeface="Verdana"/>
              </a:rPr>
              <a:t>S/5®</a:t>
            </a:r>
            <a:r>
              <a:rPr sz="1280" spc="-16" dirty="0">
                <a:solidFill>
                  <a:srgbClr val="28467B"/>
                </a:solidFill>
                <a:latin typeface="Verdana"/>
                <a:cs typeface="Verdana"/>
              </a:rPr>
              <a:t> </a:t>
            </a:r>
            <a:r>
              <a:rPr sz="1280" spc="16" dirty="0">
                <a:solidFill>
                  <a:srgbClr val="28467B"/>
                </a:solidFill>
                <a:latin typeface="Verdana"/>
                <a:cs typeface="Verdana"/>
              </a:rPr>
              <a:t>Monitor</a:t>
            </a:r>
            <a:endParaRPr sz="1280" dirty="0">
              <a:latin typeface="Verdana"/>
              <a:cs typeface="Verdana"/>
            </a:endParaRPr>
          </a:p>
          <a:p>
            <a:pPr algn="ctr">
              <a:lnSpc>
                <a:spcPct val="100000"/>
              </a:lnSpc>
            </a:pPr>
            <a:r>
              <a:rPr sz="1680" dirty="0">
                <a:solidFill>
                  <a:srgbClr val="476093"/>
                </a:solidFill>
                <a:latin typeface="Verdana"/>
                <a:cs typeface="Verdana"/>
              </a:rPr>
              <a:t>Note: S/5 monitors have </a:t>
            </a:r>
            <a:r>
              <a:rPr sz="1680" spc="-8" dirty="0">
                <a:solidFill>
                  <a:srgbClr val="476093"/>
                </a:solidFill>
                <a:latin typeface="Verdana"/>
                <a:cs typeface="Verdana"/>
              </a:rPr>
              <a:t>either 300 </a:t>
            </a:r>
            <a:r>
              <a:rPr sz="1680" dirty="0">
                <a:solidFill>
                  <a:srgbClr val="476093"/>
                </a:solidFill>
                <a:latin typeface="Verdana"/>
                <a:cs typeface="Verdana"/>
              </a:rPr>
              <a:t>series or </a:t>
            </a:r>
            <a:r>
              <a:rPr sz="1680" spc="-8" dirty="0">
                <a:solidFill>
                  <a:srgbClr val="476093"/>
                </a:solidFill>
                <a:latin typeface="Verdana"/>
                <a:cs typeface="Verdana"/>
              </a:rPr>
              <a:t>Multi-Link</a:t>
            </a:r>
            <a:r>
              <a:rPr sz="1680" spc="40" dirty="0">
                <a:solidFill>
                  <a:srgbClr val="476093"/>
                </a:solidFill>
                <a:latin typeface="Verdana"/>
                <a:cs typeface="Verdana"/>
              </a:rPr>
              <a:t> </a:t>
            </a:r>
            <a:r>
              <a:rPr sz="1680" spc="-8" dirty="0">
                <a:solidFill>
                  <a:srgbClr val="476093"/>
                </a:solidFill>
                <a:latin typeface="Verdana"/>
                <a:cs typeface="Verdana"/>
              </a:rPr>
              <a:t>connection</a:t>
            </a:r>
            <a:endParaRPr sz="1680" dirty="0">
              <a:latin typeface="Verdana"/>
              <a:cs typeface="Verdana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11155680" y="4027016"/>
            <a:ext cx="1561795" cy="3105302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7" name="object 17"/>
          <p:cNvSpPr/>
          <p:nvPr/>
        </p:nvSpPr>
        <p:spPr>
          <a:xfrm>
            <a:off x="3881931" y="4062374"/>
            <a:ext cx="3839261" cy="950974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8" name="object 18"/>
          <p:cNvSpPr/>
          <p:nvPr/>
        </p:nvSpPr>
        <p:spPr>
          <a:xfrm>
            <a:off x="4313528" y="5830215"/>
            <a:ext cx="2254301" cy="636422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9" name="object 19"/>
          <p:cNvSpPr/>
          <p:nvPr/>
        </p:nvSpPr>
        <p:spPr>
          <a:xfrm>
            <a:off x="1178849" y="4083912"/>
            <a:ext cx="2061666" cy="2522525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20" name="object 20"/>
          <p:cNvSpPr/>
          <p:nvPr/>
        </p:nvSpPr>
        <p:spPr>
          <a:xfrm>
            <a:off x="8484413" y="5592471"/>
            <a:ext cx="1527658" cy="1471574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21" name="object 21"/>
          <p:cNvSpPr/>
          <p:nvPr/>
        </p:nvSpPr>
        <p:spPr>
          <a:xfrm>
            <a:off x="7772400" y="4053841"/>
            <a:ext cx="3446678" cy="1533752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22" name="object 22"/>
          <p:cNvSpPr txBox="1"/>
          <p:nvPr/>
        </p:nvSpPr>
        <p:spPr>
          <a:xfrm>
            <a:off x="6540194" y="7022185"/>
            <a:ext cx="6283960" cy="279051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20320">
              <a:spcBef>
                <a:spcPts val="160"/>
              </a:spcBef>
            </a:pPr>
            <a:r>
              <a:rPr sz="1680" spc="-8" dirty="0">
                <a:solidFill>
                  <a:srgbClr val="0C1524"/>
                </a:solidFill>
              </a:rPr>
              <a:t>Note: 300s individual </a:t>
            </a:r>
            <a:r>
              <a:rPr sz="1680" spc="-8" dirty="0" err="1">
                <a:solidFill>
                  <a:srgbClr val="0C1524"/>
                </a:solidFill>
              </a:rPr>
              <a:t>leadwires</a:t>
            </a:r>
            <a:r>
              <a:rPr sz="1680" spc="-8" dirty="0">
                <a:solidFill>
                  <a:srgbClr val="0C1524"/>
                </a:solidFill>
              </a:rPr>
              <a:t> </a:t>
            </a:r>
            <a:r>
              <a:rPr lang="en-GB" sz="1680" spc="-8" dirty="0">
                <a:solidFill>
                  <a:srgbClr val="0C1524"/>
                </a:solidFill>
              </a:rPr>
              <a:t>are</a:t>
            </a:r>
            <a:r>
              <a:rPr sz="1680" dirty="0">
                <a:solidFill>
                  <a:srgbClr val="0C1524"/>
                </a:solidFill>
              </a:rPr>
              <a:t> EOL </a:t>
            </a:r>
            <a:r>
              <a:rPr sz="1680" spc="-8" dirty="0">
                <a:solidFill>
                  <a:srgbClr val="0C1524"/>
                </a:solidFill>
              </a:rPr>
              <a:t>(sets will </a:t>
            </a:r>
            <a:r>
              <a:rPr sz="1680" dirty="0">
                <a:solidFill>
                  <a:srgbClr val="0C1524"/>
                </a:solidFill>
              </a:rPr>
              <a:t>be</a:t>
            </a:r>
            <a:r>
              <a:rPr sz="1680" spc="296" dirty="0">
                <a:solidFill>
                  <a:srgbClr val="0C1524"/>
                </a:solidFill>
              </a:rPr>
              <a:t> </a:t>
            </a:r>
            <a:r>
              <a:rPr sz="1680" spc="-8" dirty="0">
                <a:solidFill>
                  <a:srgbClr val="0C1524"/>
                </a:solidFill>
              </a:rPr>
              <a:t>available)</a:t>
            </a:r>
            <a:endParaRPr sz="1680" dirty="0"/>
          </a:p>
        </p:txBody>
      </p:sp>
      <p:sp>
        <p:nvSpPr>
          <p:cNvPr id="23" name="object 23"/>
          <p:cNvSpPr txBox="1"/>
          <p:nvPr/>
        </p:nvSpPr>
        <p:spPr>
          <a:xfrm>
            <a:off x="8484818" y="7637661"/>
            <a:ext cx="3445256" cy="247247"/>
          </a:xfrm>
          <a:prstGeom prst="rect">
            <a:avLst/>
          </a:prstGeom>
        </p:spPr>
        <p:txBody>
          <a:bodyPr vert="horz" wrap="square" lIns="0" tIns="1016" rIns="0" bIns="0" rtlCol="0">
            <a:spAutoFit/>
          </a:bodyPr>
          <a:lstStyle/>
          <a:p>
            <a:pPr marL="20320">
              <a:spcBef>
                <a:spcPts val="8"/>
              </a:spcBef>
            </a:pPr>
            <a:r>
              <a:rPr sz="1600" b="1" dirty="0">
                <a:solidFill>
                  <a:srgbClr val="F1F1F1"/>
                </a:solidFill>
              </a:rPr>
              <a:t>CONFIDENTIAL – Internal Use</a:t>
            </a:r>
            <a:r>
              <a:rPr sz="1600" b="1" spc="-216" dirty="0">
                <a:solidFill>
                  <a:srgbClr val="F1F1F1"/>
                </a:solidFill>
              </a:rPr>
              <a:t> </a:t>
            </a:r>
            <a:r>
              <a:rPr sz="1600" b="1" dirty="0">
                <a:solidFill>
                  <a:srgbClr val="F1F1F1"/>
                </a:solidFill>
              </a:rPr>
              <a:t>Only</a:t>
            </a:r>
            <a:endParaRPr sz="1600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57504" y="700170"/>
            <a:ext cx="2481072" cy="600164"/>
          </a:xfrm>
          <a:prstGeom prst="rect">
            <a:avLst/>
          </a:prstGeom>
        </p:spPr>
        <p:txBody>
          <a:bodyPr spcFirstLastPara="1" vert="horz" wrap="square" lIns="0" tIns="20320" rIns="0" bIns="0" rtlCol="0" anchor="ctr" anchorCtr="0">
            <a:spAutoFit/>
          </a:bodyPr>
          <a:lstStyle/>
          <a:p>
            <a:pPr marL="20320">
              <a:lnSpc>
                <a:spcPct val="100000"/>
              </a:lnSpc>
              <a:spcBef>
                <a:spcPts val="160"/>
              </a:spcBef>
            </a:pPr>
            <a:r>
              <a:rPr u="none" dirty="0"/>
              <a:t>Mult</a:t>
            </a:r>
            <a:r>
              <a:rPr spc="8" dirty="0"/>
              <a:t>i</a:t>
            </a:r>
            <a:r>
              <a:rPr u="none" dirty="0"/>
              <a:t>-Link</a:t>
            </a:r>
          </a:p>
        </p:txBody>
      </p:sp>
      <p:sp>
        <p:nvSpPr>
          <p:cNvPr id="3" name="object 3"/>
          <p:cNvSpPr/>
          <p:nvPr/>
        </p:nvSpPr>
        <p:spPr>
          <a:xfrm>
            <a:off x="6627572" y="4219651"/>
            <a:ext cx="3613707" cy="139964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4" name="object 4"/>
          <p:cNvSpPr/>
          <p:nvPr/>
        </p:nvSpPr>
        <p:spPr>
          <a:xfrm>
            <a:off x="2240889" y="1531315"/>
            <a:ext cx="10148824" cy="1684528"/>
          </a:xfrm>
          <a:custGeom>
            <a:avLst/>
            <a:gdLst/>
            <a:ahLst/>
            <a:cxnLst/>
            <a:rect l="l" t="t" r="r" b="b"/>
            <a:pathLst>
              <a:path w="6343015" h="1052830">
                <a:moveTo>
                  <a:pt x="0" y="1052321"/>
                </a:moveTo>
                <a:lnTo>
                  <a:pt x="6342888" y="1052321"/>
                </a:lnTo>
                <a:lnTo>
                  <a:pt x="6342888" y="0"/>
                </a:lnTo>
                <a:lnTo>
                  <a:pt x="0" y="0"/>
                </a:lnTo>
                <a:lnTo>
                  <a:pt x="0" y="1052321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5" name="object 5"/>
          <p:cNvSpPr txBox="1"/>
          <p:nvPr/>
        </p:nvSpPr>
        <p:spPr>
          <a:xfrm>
            <a:off x="2458721" y="1632508"/>
            <a:ext cx="1647950" cy="352917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>
              <a:spcBef>
                <a:spcPts val="160"/>
              </a:spcBef>
            </a:pPr>
            <a:r>
              <a:rPr sz="2160" spc="-8" dirty="0">
                <a:solidFill>
                  <a:srgbClr val="00AF50"/>
                </a:solidFill>
                <a:latin typeface="Verdana"/>
                <a:cs typeface="Verdana"/>
              </a:rPr>
              <a:t>Multi-Link®</a:t>
            </a:r>
            <a:endParaRPr sz="2160">
              <a:latin typeface="Verdana"/>
              <a:cs typeface="Verdana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7178648" y="1905608"/>
            <a:ext cx="2189683" cy="149108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7" name="object 7"/>
          <p:cNvSpPr/>
          <p:nvPr/>
        </p:nvSpPr>
        <p:spPr>
          <a:xfrm>
            <a:off x="4623207" y="1644701"/>
            <a:ext cx="857096" cy="894893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8" name="object 8"/>
          <p:cNvSpPr txBox="1"/>
          <p:nvPr/>
        </p:nvSpPr>
        <p:spPr>
          <a:xfrm>
            <a:off x="5516474" y="1843024"/>
            <a:ext cx="1685544" cy="222625"/>
          </a:xfrm>
          <a:prstGeom prst="rect">
            <a:avLst/>
          </a:prstGeom>
        </p:spPr>
        <p:txBody>
          <a:bodyPr vert="horz" wrap="square" lIns="0" tIns="25400" rIns="0" bIns="0" rtlCol="0">
            <a:spAutoFit/>
          </a:bodyPr>
          <a:lstStyle/>
          <a:p>
            <a:pPr>
              <a:spcBef>
                <a:spcPts val="200"/>
              </a:spcBef>
            </a:pPr>
            <a:r>
              <a:rPr sz="1280" spc="24" dirty="0">
                <a:solidFill>
                  <a:srgbClr val="28467B"/>
                </a:solidFill>
                <a:latin typeface="Verdana"/>
                <a:cs typeface="Verdana"/>
              </a:rPr>
              <a:t>CARESCAPE®</a:t>
            </a:r>
            <a:r>
              <a:rPr sz="1280" spc="-88" dirty="0">
                <a:solidFill>
                  <a:srgbClr val="28467B"/>
                </a:solidFill>
                <a:latin typeface="Verdana"/>
                <a:cs typeface="Verdana"/>
              </a:rPr>
              <a:t> </a:t>
            </a:r>
            <a:r>
              <a:rPr sz="1280" spc="24" dirty="0">
                <a:solidFill>
                  <a:srgbClr val="28467B"/>
                </a:solidFill>
                <a:latin typeface="Verdana"/>
                <a:cs typeface="Verdana"/>
              </a:rPr>
              <a:t>Bx50</a:t>
            </a:r>
            <a:endParaRPr sz="1280">
              <a:latin typeface="Verdana"/>
              <a:cs typeface="Verdana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7752894" y="1704035"/>
            <a:ext cx="1124712" cy="222625"/>
          </a:xfrm>
          <a:prstGeom prst="rect">
            <a:avLst/>
          </a:prstGeom>
        </p:spPr>
        <p:txBody>
          <a:bodyPr vert="horz" wrap="square" lIns="0" tIns="25400" rIns="0" bIns="0" rtlCol="0">
            <a:spAutoFit/>
          </a:bodyPr>
          <a:lstStyle/>
          <a:p>
            <a:pPr>
              <a:spcBef>
                <a:spcPts val="200"/>
              </a:spcBef>
            </a:pPr>
            <a:r>
              <a:rPr sz="1280" spc="24" dirty="0">
                <a:solidFill>
                  <a:srgbClr val="28467B"/>
                </a:solidFill>
                <a:latin typeface="Verdana"/>
                <a:cs typeface="Verdana"/>
              </a:rPr>
              <a:t>PSM(P),</a:t>
            </a:r>
            <a:r>
              <a:rPr sz="1280" spc="-96" dirty="0">
                <a:solidFill>
                  <a:srgbClr val="28467B"/>
                </a:solidFill>
                <a:latin typeface="Verdana"/>
                <a:cs typeface="Verdana"/>
              </a:rPr>
              <a:t> </a:t>
            </a:r>
            <a:r>
              <a:rPr sz="1280" spc="24" dirty="0">
                <a:solidFill>
                  <a:srgbClr val="28467B"/>
                </a:solidFill>
                <a:latin typeface="Verdana"/>
                <a:cs typeface="Verdana"/>
              </a:rPr>
              <a:t>PDM</a:t>
            </a:r>
            <a:endParaRPr sz="1280">
              <a:latin typeface="Verdana"/>
              <a:cs typeface="Verdana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11083747" y="1660551"/>
            <a:ext cx="942442" cy="157154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1" name="object 11"/>
          <p:cNvSpPr/>
          <p:nvPr/>
        </p:nvSpPr>
        <p:spPr>
          <a:xfrm>
            <a:off x="5496153" y="2116531"/>
            <a:ext cx="832714" cy="701040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2" name="object 12"/>
          <p:cNvSpPr/>
          <p:nvPr/>
        </p:nvSpPr>
        <p:spPr>
          <a:xfrm>
            <a:off x="4782922" y="2512771"/>
            <a:ext cx="697381" cy="68641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3" name="object 13"/>
          <p:cNvSpPr/>
          <p:nvPr/>
        </p:nvSpPr>
        <p:spPr>
          <a:xfrm>
            <a:off x="10241281" y="1681276"/>
            <a:ext cx="566926" cy="1383790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4" name="object 14"/>
          <p:cNvSpPr/>
          <p:nvPr/>
        </p:nvSpPr>
        <p:spPr>
          <a:xfrm>
            <a:off x="2239671" y="3245511"/>
            <a:ext cx="10148824" cy="679704"/>
          </a:xfrm>
          <a:custGeom>
            <a:avLst/>
            <a:gdLst/>
            <a:ahLst/>
            <a:cxnLst/>
            <a:rect l="l" t="t" r="r" b="b"/>
            <a:pathLst>
              <a:path w="6343015" h="424814">
                <a:moveTo>
                  <a:pt x="0" y="424434"/>
                </a:moveTo>
                <a:lnTo>
                  <a:pt x="6342887" y="424434"/>
                </a:lnTo>
                <a:lnTo>
                  <a:pt x="6342887" y="0"/>
                </a:lnTo>
                <a:lnTo>
                  <a:pt x="0" y="0"/>
                </a:lnTo>
                <a:lnTo>
                  <a:pt x="0" y="424434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5" name="object 15"/>
          <p:cNvSpPr/>
          <p:nvPr/>
        </p:nvSpPr>
        <p:spPr>
          <a:xfrm>
            <a:off x="2194560" y="2617622"/>
            <a:ext cx="1020470" cy="1310640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6" name="object 16"/>
          <p:cNvSpPr txBox="1"/>
          <p:nvPr/>
        </p:nvSpPr>
        <p:spPr>
          <a:xfrm>
            <a:off x="2239671" y="2352649"/>
            <a:ext cx="10148824" cy="1375248"/>
          </a:xfrm>
          <a:prstGeom prst="rect">
            <a:avLst/>
          </a:prstGeom>
        </p:spPr>
        <p:txBody>
          <a:bodyPr vert="horz" wrap="square" lIns="0" tIns="25400" rIns="0" bIns="0" rtlCol="0">
            <a:spAutoFit/>
          </a:bodyPr>
          <a:lstStyle/>
          <a:p>
            <a:pPr marR="914400" algn="ctr">
              <a:spcBef>
                <a:spcPts val="200"/>
              </a:spcBef>
            </a:pPr>
            <a:r>
              <a:rPr sz="1280" spc="24" dirty="0">
                <a:solidFill>
                  <a:srgbClr val="28467B"/>
                </a:solidFill>
                <a:latin typeface="Verdana"/>
                <a:cs typeface="Verdana"/>
              </a:rPr>
              <a:t>Procare</a:t>
            </a:r>
            <a:r>
              <a:rPr sz="1280" spc="-24" dirty="0">
                <a:solidFill>
                  <a:srgbClr val="28467B"/>
                </a:solidFill>
                <a:latin typeface="Verdana"/>
                <a:cs typeface="Verdana"/>
              </a:rPr>
              <a:t> </a:t>
            </a:r>
            <a:r>
              <a:rPr sz="1280" spc="24" dirty="0">
                <a:solidFill>
                  <a:srgbClr val="28467B"/>
                </a:solidFill>
                <a:latin typeface="Verdana"/>
                <a:cs typeface="Verdana"/>
              </a:rPr>
              <a:t>Bx0</a:t>
            </a:r>
            <a:endParaRPr sz="1280">
              <a:latin typeface="Verdana"/>
              <a:cs typeface="Verdana"/>
            </a:endParaRPr>
          </a:p>
          <a:p>
            <a:pPr>
              <a:spcBef>
                <a:spcPts val="80"/>
              </a:spcBef>
            </a:pPr>
            <a:endParaRPr sz="2000">
              <a:latin typeface="Verdana"/>
              <a:cs typeface="Verdana"/>
            </a:endParaRPr>
          </a:p>
          <a:p>
            <a:pPr marL="3320288"/>
            <a:r>
              <a:rPr sz="1280" spc="24" dirty="0">
                <a:solidFill>
                  <a:srgbClr val="28467B"/>
                </a:solidFill>
                <a:latin typeface="Verdana"/>
                <a:cs typeface="Verdana"/>
              </a:rPr>
              <a:t>Dash,</a:t>
            </a:r>
            <a:r>
              <a:rPr sz="1280" dirty="0">
                <a:solidFill>
                  <a:srgbClr val="28467B"/>
                </a:solidFill>
                <a:latin typeface="Verdana"/>
                <a:cs typeface="Verdana"/>
              </a:rPr>
              <a:t> </a:t>
            </a:r>
            <a:r>
              <a:rPr sz="1280" spc="16" dirty="0">
                <a:solidFill>
                  <a:srgbClr val="28467B"/>
                </a:solidFill>
                <a:latin typeface="Verdana"/>
                <a:cs typeface="Verdana"/>
              </a:rPr>
              <a:t>Solar</a:t>
            </a:r>
            <a:endParaRPr sz="1280">
              <a:latin typeface="Verdana"/>
              <a:cs typeface="Verdana"/>
            </a:endParaRPr>
          </a:p>
          <a:p>
            <a:pPr marL="889000">
              <a:spcBef>
                <a:spcPts val="1368"/>
              </a:spcBef>
            </a:pPr>
            <a:r>
              <a:rPr sz="1280" spc="24" dirty="0">
                <a:solidFill>
                  <a:srgbClr val="28467B"/>
                </a:solidFill>
                <a:latin typeface="Verdana"/>
                <a:cs typeface="Verdana"/>
              </a:rPr>
              <a:t>S/5®</a:t>
            </a:r>
            <a:r>
              <a:rPr sz="1280" spc="-16" dirty="0">
                <a:solidFill>
                  <a:srgbClr val="28467B"/>
                </a:solidFill>
                <a:latin typeface="Verdana"/>
                <a:cs typeface="Verdana"/>
              </a:rPr>
              <a:t> </a:t>
            </a:r>
            <a:r>
              <a:rPr sz="1280" spc="16" dirty="0">
                <a:solidFill>
                  <a:srgbClr val="28467B"/>
                </a:solidFill>
                <a:latin typeface="Verdana"/>
                <a:cs typeface="Verdana"/>
              </a:rPr>
              <a:t>Monitor</a:t>
            </a:r>
            <a:endParaRPr sz="1280">
              <a:latin typeface="Verdana"/>
              <a:cs typeface="Verdana"/>
            </a:endParaRPr>
          </a:p>
          <a:p>
            <a:pPr algn="ctr">
              <a:lnSpc>
                <a:spcPct val="100000"/>
              </a:lnSpc>
            </a:pPr>
            <a:r>
              <a:rPr sz="1680" dirty="0">
                <a:solidFill>
                  <a:srgbClr val="476093"/>
                </a:solidFill>
                <a:latin typeface="Verdana"/>
                <a:cs typeface="Verdana"/>
              </a:rPr>
              <a:t>Note: S/5 monitors have </a:t>
            </a:r>
            <a:r>
              <a:rPr sz="1680" spc="-8" dirty="0">
                <a:solidFill>
                  <a:srgbClr val="476093"/>
                </a:solidFill>
                <a:latin typeface="Verdana"/>
                <a:cs typeface="Verdana"/>
              </a:rPr>
              <a:t>either 300 </a:t>
            </a:r>
            <a:r>
              <a:rPr sz="1680" dirty="0">
                <a:solidFill>
                  <a:srgbClr val="476093"/>
                </a:solidFill>
                <a:latin typeface="Verdana"/>
                <a:cs typeface="Verdana"/>
              </a:rPr>
              <a:t>series or </a:t>
            </a:r>
            <a:r>
              <a:rPr sz="1680" spc="-8" dirty="0">
                <a:solidFill>
                  <a:srgbClr val="476093"/>
                </a:solidFill>
                <a:latin typeface="Verdana"/>
                <a:cs typeface="Verdana"/>
              </a:rPr>
              <a:t>Multi-Link</a:t>
            </a:r>
            <a:r>
              <a:rPr sz="1680" spc="40" dirty="0">
                <a:solidFill>
                  <a:srgbClr val="476093"/>
                </a:solidFill>
                <a:latin typeface="Verdana"/>
                <a:cs typeface="Verdana"/>
              </a:rPr>
              <a:t> </a:t>
            </a:r>
            <a:r>
              <a:rPr sz="1680" spc="-8" dirty="0">
                <a:solidFill>
                  <a:srgbClr val="476093"/>
                </a:solidFill>
                <a:latin typeface="Verdana"/>
                <a:cs typeface="Verdana"/>
              </a:rPr>
              <a:t>connection</a:t>
            </a:r>
            <a:endParaRPr sz="1680">
              <a:latin typeface="Verdana"/>
              <a:cs typeface="Verdana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-196059" y="4920286"/>
            <a:ext cx="3586886" cy="2690773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8" name="object 18"/>
          <p:cNvSpPr/>
          <p:nvPr/>
        </p:nvSpPr>
        <p:spPr>
          <a:xfrm>
            <a:off x="6325362" y="5760720"/>
            <a:ext cx="2022499" cy="1230173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9" name="object 19"/>
          <p:cNvSpPr/>
          <p:nvPr/>
        </p:nvSpPr>
        <p:spPr>
          <a:xfrm>
            <a:off x="8610325" y="5738775"/>
            <a:ext cx="1641731" cy="1177746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20" name="object 20"/>
          <p:cNvSpPr/>
          <p:nvPr/>
        </p:nvSpPr>
        <p:spPr>
          <a:xfrm>
            <a:off x="10414406" y="4431976"/>
            <a:ext cx="1172013" cy="2636944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21" name="object 21"/>
          <p:cNvSpPr/>
          <p:nvPr/>
        </p:nvSpPr>
        <p:spPr>
          <a:xfrm>
            <a:off x="11456823" y="4352542"/>
            <a:ext cx="1305762" cy="2850490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22" name="object 22"/>
          <p:cNvSpPr/>
          <p:nvPr/>
        </p:nvSpPr>
        <p:spPr>
          <a:xfrm>
            <a:off x="1534909" y="4056072"/>
            <a:ext cx="3710026" cy="1335024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23" name="object 23"/>
          <p:cNvSpPr/>
          <p:nvPr/>
        </p:nvSpPr>
        <p:spPr>
          <a:xfrm>
            <a:off x="3563955" y="5283403"/>
            <a:ext cx="2048256" cy="2184806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24" name="object 24"/>
          <p:cNvSpPr txBox="1"/>
          <p:nvPr/>
        </p:nvSpPr>
        <p:spPr>
          <a:xfrm>
            <a:off x="8484818" y="7637661"/>
            <a:ext cx="3445256" cy="247247"/>
          </a:xfrm>
          <a:prstGeom prst="rect">
            <a:avLst/>
          </a:prstGeom>
        </p:spPr>
        <p:txBody>
          <a:bodyPr vert="horz" wrap="square" lIns="0" tIns="1016" rIns="0" bIns="0" rtlCol="0">
            <a:spAutoFit/>
          </a:bodyPr>
          <a:lstStyle/>
          <a:p>
            <a:pPr marL="20320">
              <a:spcBef>
                <a:spcPts val="8"/>
              </a:spcBef>
            </a:pPr>
            <a:r>
              <a:rPr sz="1600" b="1" dirty="0">
                <a:solidFill>
                  <a:srgbClr val="F1F1F1"/>
                </a:solidFill>
              </a:rPr>
              <a:t>CONFIDENTIAL – Internal Use</a:t>
            </a:r>
            <a:r>
              <a:rPr sz="1600" b="1" spc="-216" dirty="0">
                <a:solidFill>
                  <a:srgbClr val="F1F1F1"/>
                </a:solidFill>
              </a:rPr>
              <a:t> </a:t>
            </a:r>
            <a:r>
              <a:rPr sz="1600" b="1" dirty="0">
                <a:solidFill>
                  <a:srgbClr val="F1F1F1"/>
                </a:solidFill>
              </a:rPr>
              <a:t>Only</a:t>
            </a:r>
            <a:endParaRPr sz="160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503423" y="563620"/>
            <a:ext cx="5889752" cy="600164"/>
          </a:xfrm>
          <a:prstGeom prst="rect">
            <a:avLst/>
          </a:prstGeom>
        </p:spPr>
        <p:txBody>
          <a:bodyPr spcFirstLastPara="1" vert="horz" wrap="square" lIns="0" tIns="20320" rIns="0" bIns="0" rtlCol="0" anchor="ctr" anchorCtr="0">
            <a:spAutoFit/>
          </a:bodyPr>
          <a:lstStyle/>
          <a:p>
            <a:pPr marL="20320">
              <a:lnSpc>
                <a:spcPct val="100000"/>
              </a:lnSpc>
              <a:spcBef>
                <a:spcPts val="160"/>
              </a:spcBef>
            </a:pPr>
            <a:r>
              <a:rPr spc="-40" dirty="0"/>
              <a:t>Variations </a:t>
            </a:r>
            <a:r>
              <a:rPr u="none" dirty="0"/>
              <a:t>on leadwires</a:t>
            </a:r>
          </a:p>
        </p:txBody>
      </p:sp>
      <p:sp>
        <p:nvSpPr>
          <p:cNvPr id="4" name="object 4"/>
          <p:cNvSpPr/>
          <p:nvPr/>
        </p:nvSpPr>
        <p:spPr>
          <a:xfrm>
            <a:off x="6945374" y="4762196"/>
            <a:ext cx="3517392" cy="2583688"/>
          </a:xfrm>
          <a:custGeom>
            <a:avLst/>
            <a:gdLst/>
            <a:ahLst/>
            <a:cxnLst/>
            <a:rect l="l" t="t" r="r" b="b"/>
            <a:pathLst>
              <a:path w="2198370" h="1614804">
                <a:moveTo>
                  <a:pt x="1848103" y="0"/>
                </a:moveTo>
                <a:lnTo>
                  <a:pt x="2197862" y="878839"/>
                </a:lnTo>
                <a:lnTo>
                  <a:pt x="349757" y="1614411"/>
                </a:lnTo>
                <a:lnTo>
                  <a:pt x="0" y="735583"/>
                </a:lnTo>
                <a:lnTo>
                  <a:pt x="1848103" y="0"/>
                </a:lnTo>
                <a:close/>
              </a:path>
            </a:pathLst>
          </a:custGeom>
          <a:ln w="254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5" name="object 5"/>
          <p:cNvSpPr/>
          <p:nvPr/>
        </p:nvSpPr>
        <p:spPr>
          <a:xfrm>
            <a:off x="2440839" y="1967788"/>
            <a:ext cx="2538216" cy="245912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6" name="object 6"/>
          <p:cNvSpPr/>
          <p:nvPr/>
        </p:nvSpPr>
        <p:spPr>
          <a:xfrm>
            <a:off x="10004754" y="1967787"/>
            <a:ext cx="2221382" cy="278099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7" name="object 7"/>
          <p:cNvSpPr/>
          <p:nvPr/>
        </p:nvSpPr>
        <p:spPr>
          <a:xfrm>
            <a:off x="9925506" y="5619293"/>
            <a:ext cx="2331109" cy="170688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8" name="object 8"/>
          <p:cNvSpPr/>
          <p:nvPr/>
        </p:nvSpPr>
        <p:spPr>
          <a:xfrm>
            <a:off x="2058214" y="4663399"/>
            <a:ext cx="2819541" cy="3216168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9" name="object 9"/>
          <p:cNvSpPr/>
          <p:nvPr/>
        </p:nvSpPr>
        <p:spPr>
          <a:xfrm>
            <a:off x="5748526" y="1834896"/>
            <a:ext cx="2955341" cy="349910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0" name="object 10"/>
          <p:cNvSpPr txBox="1"/>
          <p:nvPr/>
        </p:nvSpPr>
        <p:spPr>
          <a:xfrm>
            <a:off x="2498954" y="1354126"/>
            <a:ext cx="1884680" cy="279051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20320">
              <a:spcBef>
                <a:spcPts val="160"/>
              </a:spcBef>
            </a:pPr>
            <a:r>
              <a:rPr sz="1680" spc="-8" dirty="0">
                <a:solidFill>
                  <a:srgbClr val="7E7E7E"/>
                </a:solidFill>
                <a:latin typeface="Verdana"/>
                <a:cs typeface="Verdana"/>
              </a:rPr>
              <a:t>Grabber </a:t>
            </a:r>
            <a:r>
              <a:rPr sz="1680" dirty="0">
                <a:solidFill>
                  <a:srgbClr val="7E7E7E"/>
                </a:solidFill>
                <a:latin typeface="Verdana"/>
                <a:cs typeface="Verdana"/>
              </a:rPr>
              <a:t>vs.</a:t>
            </a:r>
            <a:r>
              <a:rPr sz="1680" spc="-88" dirty="0">
                <a:solidFill>
                  <a:srgbClr val="7E7E7E"/>
                </a:solidFill>
                <a:latin typeface="Verdana"/>
                <a:cs typeface="Verdana"/>
              </a:rPr>
              <a:t> </a:t>
            </a:r>
            <a:r>
              <a:rPr sz="1680" dirty="0">
                <a:solidFill>
                  <a:srgbClr val="7E7E7E"/>
                </a:solidFill>
                <a:latin typeface="Verdana"/>
                <a:cs typeface="Verdana"/>
              </a:rPr>
              <a:t>snap</a:t>
            </a:r>
            <a:endParaRPr sz="1680">
              <a:latin typeface="Verdana"/>
              <a:cs typeface="Verdan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6087465" y="1354126"/>
            <a:ext cx="1484376" cy="537583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20320" marR="8128">
              <a:spcBef>
                <a:spcPts val="160"/>
              </a:spcBef>
            </a:pPr>
            <a:r>
              <a:rPr sz="1680" spc="-8" dirty="0">
                <a:solidFill>
                  <a:srgbClr val="7E7E7E"/>
                </a:solidFill>
                <a:latin typeface="Verdana"/>
                <a:cs typeface="Verdana"/>
              </a:rPr>
              <a:t>Multi-Link</a:t>
            </a:r>
            <a:r>
              <a:rPr sz="1680" spc="-88" dirty="0">
                <a:solidFill>
                  <a:srgbClr val="7E7E7E"/>
                </a:solidFill>
                <a:latin typeface="Verdana"/>
                <a:cs typeface="Verdana"/>
              </a:rPr>
              <a:t> </a:t>
            </a:r>
            <a:r>
              <a:rPr sz="1680" dirty="0">
                <a:solidFill>
                  <a:srgbClr val="7E7E7E"/>
                </a:solidFill>
                <a:latin typeface="Verdana"/>
                <a:cs typeface="Verdana"/>
              </a:rPr>
              <a:t>vs.  </a:t>
            </a:r>
            <a:r>
              <a:rPr sz="1680" spc="-8" dirty="0">
                <a:solidFill>
                  <a:srgbClr val="7E7E7E"/>
                </a:solidFill>
                <a:latin typeface="Verdana"/>
                <a:cs typeface="Verdana"/>
              </a:rPr>
              <a:t>300-series</a:t>
            </a:r>
            <a:endParaRPr sz="1680">
              <a:latin typeface="Verdana"/>
              <a:cs typeface="Verdan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9373208" y="1354125"/>
            <a:ext cx="2965702" cy="537583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20320" marR="8128">
              <a:spcBef>
                <a:spcPts val="160"/>
              </a:spcBef>
            </a:pPr>
            <a:r>
              <a:rPr sz="1680" spc="-8" dirty="0">
                <a:solidFill>
                  <a:srgbClr val="7E7E7E"/>
                </a:solidFill>
                <a:latin typeface="Verdana"/>
                <a:cs typeface="Verdana"/>
              </a:rPr>
              <a:t>Individually replaceable </a:t>
            </a:r>
            <a:r>
              <a:rPr sz="1680" dirty="0">
                <a:solidFill>
                  <a:srgbClr val="7E7E7E"/>
                </a:solidFill>
                <a:latin typeface="Verdana"/>
                <a:cs typeface="Verdana"/>
              </a:rPr>
              <a:t>vs.  grouped</a:t>
            </a:r>
            <a:endParaRPr sz="1680">
              <a:latin typeface="Verdana"/>
              <a:cs typeface="Verdan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2498954" y="4682134"/>
            <a:ext cx="1337056" cy="279051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20320">
              <a:spcBef>
                <a:spcPts val="160"/>
              </a:spcBef>
            </a:pPr>
            <a:r>
              <a:rPr sz="1680" dirty="0">
                <a:solidFill>
                  <a:srgbClr val="7E7E7E"/>
                </a:solidFill>
                <a:latin typeface="Verdana"/>
                <a:cs typeface="Verdana"/>
              </a:rPr>
              <a:t>IEC vs.</a:t>
            </a:r>
            <a:r>
              <a:rPr sz="1680" spc="-128" dirty="0">
                <a:solidFill>
                  <a:srgbClr val="7E7E7E"/>
                </a:solidFill>
                <a:latin typeface="Verdana"/>
                <a:cs typeface="Verdana"/>
              </a:rPr>
              <a:t> </a:t>
            </a:r>
            <a:r>
              <a:rPr sz="1680" dirty="0">
                <a:solidFill>
                  <a:srgbClr val="7E7E7E"/>
                </a:solidFill>
                <a:latin typeface="Verdana"/>
                <a:cs typeface="Verdana"/>
              </a:rPr>
              <a:t>AHA</a:t>
            </a:r>
            <a:endParaRPr sz="1680">
              <a:latin typeface="Verdana"/>
              <a:cs typeface="Verdan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9871455" y="5106417"/>
            <a:ext cx="1852168" cy="279051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20320">
              <a:spcBef>
                <a:spcPts val="160"/>
              </a:spcBef>
            </a:pPr>
            <a:r>
              <a:rPr sz="1680" dirty="0">
                <a:solidFill>
                  <a:srgbClr val="7E7E7E"/>
                </a:solidFill>
                <a:latin typeface="Verdana"/>
                <a:cs typeface="Verdana"/>
              </a:rPr>
              <a:t>SPU vs.</a:t>
            </a:r>
            <a:r>
              <a:rPr sz="1680" spc="-128" dirty="0">
                <a:solidFill>
                  <a:srgbClr val="7E7E7E"/>
                </a:solidFill>
                <a:latin typeface="Verdana"/>
                <a:cs typeface="Verdana"/>
              </a:rPr>
              <a:t> </a:t>
            </a:r>
            <a:r>
              <a:rPr sz="1680" dirty="0">
                <a:solidFill>
                  <a:srgbClr val="7E7E7E"/>
                </a:solidFill>
                <a:latin typeface="Verdana"/>
                <a:cs typeface="Verdana"/>
              </a:rPr>
              <a:t>reusable</a:t>
            </a:r>
            <a:endParaRPr sz="1680">
              <a:latin typeface="Verdana"/>
              <a:cs typeface="Verdana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5659525" y="5676594"/>
            <a:ext cx="3661258" cy="1292352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6" name="object 16"/>
          <p:cNvSpPr/>
          <p:nvPr/>
        </p:nvSpPr>
        <p:spPr>
          <a:xfrm>
            <a:off x="5781445" y="5672936"/>
            <a:ext cx="3508858" cy="1366723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7" name="object 17"/>
          <p:cNvSpPr/>
          <p:nvPr/>
        </p:nvSpPr>
        <p:spPr>
          <a:xfrm>
            <a:off x="5733287" y="5718656"/>
            <a:ext cx="3513733" cy="1144829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8" name="object 18"/>
          <p:cNvSpPr txBox="1"/>
          <p:nvPr/>
        </p:nvSpPr>
        <p:spPr>
          <a:xfrm>
            <a:off x="5733287" y="5718656"/>
            <a:ext cx="3514344" cy="735586"/>
          </a:xfrm>
          <a:prstGeom prst="rect">
            <a:avLst/>
          </a:prstGeom>
          <a:ln w="9905">
            <a:solidFill>
              <a:srgbClr val="F69240"/>
            </a:solidFill>
          </a:ln>
        </p:spPr>
        <p:txBody>
          <a:bodyPr vert="horz" wrap="square" lIns="0" tIns="70104" rIns="0" bIns="0" rtlCol="0">
            <a:spAutoFit/>
          </a:bodyPr>
          <a:lstStyle/>
          <a:p>
            <a:pPr marL="549656" marR="538480" algn="ctr">
              <a:spcBef>
                <a:spcPts val="552"/>
              </a:spcBef>
            </a:pPr>
            <a:r>
              <a:rPr sz="2160" spc="-8" dirty="0">
                <a:solidFill>
                  <a:srgbClr val="28467B"/>
                </a:solidFill>
                <a:latin typeface="Verdana"/>
                <a:cs typeface="Verdana"/>
              </a:rPr>
              <a:t>Check</a:t>
            </a:r>
            <a:r>
              <a:rPr sz="2160" spc="-112" dirty="0">
                <a:solidFill>
                  <a:srgbClr val="28467B"/>
                </a:solidFill>
                <a:latin typeface="Verdana"/>
                <a:cs typeface="Verdana"/>
              </a:rPr>
              <a:t> </a:t>
            </a:r>
            <a:r>
              <a:rPr sz="2160" spc="-8" dirty="0">
                <a:solidFill>
                  <a:srgbClr val="28467B"/>
                </a:solidFill>
                <a:latin typeface="Verdana"/>
                <a:cs typeface="Verdana"/>
              </a:rPr>
              <a:t>customer</a:t>
            </a:r>
            <a:r>
              <a:rPr sz="2160" spc="-48" dirty="0">
                <a:solidFill>
                  <a:srgbClr val="28467B"/>
                </a:solidFill>
                <a:latin typeface="Verdana"/>
                <a:cs typeface="Verdana"/>
              </a:rPr>
              <a:t> </a:t>
            </a:r>
            <a:r>
              <a:rPr sz="2160" spc="-8" dirty="0">
                <a:solidFill>
                  <a:srgbClr val="28467B"/>
                </a:solidFill>
                <a:latin typeface="Verdana"/>
                <a:cs typeface="Verdana"/>
              </a:rPr>
              <a:t>preference!</a:t>
            </a:r>
            <a:endParaRPr sz="2160" dirty="0">
              <a:latin typeface="Verdana"/>
              <a:cs typeface="Verdan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1954783" y="7568320"/>
            <a:ext cx="176782" cy="5904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0320">
              <a:lnSpc>
                <a:spcPts val="2280"/>
              </a:lnSpc>
            </a:pPr>
            <a:r>
              <a:rPr sz="1920" spc="-8" dirty="0">
                <a:solidFill>
                  <a:srgbClr val="71B0D3"/>
                </a:solidFill>
              </a:rPr>
              <a:t>2</a:t>
            </a:r>
            <a:endParaRPr sz="1920"/>
          </a:p>
          <a:p>
            <a:pPr marL="20320"/>
            <a:r>
              <a:rPr sz="1920" spc="-8" dirty="0">
                <a:solidFill>
                  <a:srgbClr val="71B0D3"/>
                </a:solidFill>
              </a:rPr>
              <a:t>3</a:t>
            </a:r>
            <a:endParaRPr sz="1920"/>
          </a:p>
        </p:txBody>
      </p:sp>
      <p:sp>
        <p:nvSpPr>
          <p:cNvPr id="20" name="object 20"/>
          <p:cNvSpPr txBox="1"/>
          <p:nvPr/>
        </p:nvSpPr>
        <p:spPr>
          <a:xfrm>
            <a:off x="8484818" y="7637661"/>
            <a:ext cx="3445256" cy="247247"/>
          </a:xfrm>
          <a:prstGeom prst="rect">
            <a:avLst/>
          </a:prstGeom>
        </p:spPr>
        <p:txBody>
          <a:bodyPr vert="horz" wrap="square" lIns="0" tIns="1016" rIns="0" bIns="0" rtlCol="0">
            <a:spAutoFit/>
          </a:bodyPr>
          <a:lstStyle/>
          <a:p>
            <a:pPr marL="20320">
              <a:spcBef>
                <a:spcPts val="8"/>
              </a:spcBef>
            </a:pPr>
            <a:r>
              <a:rPr sz="1600" b="1" dirty="0">
                <a:solidFill>
                  <a:srgbClr val="F1F1F1"/>
                </a:solidFill>
              </a:rPr>
              <a:t>CONFIDENTIAL – Internal Use</a:t>
            </a:r>
            <a:r>
              <a:rPr sz="1600" b="1" spc="-216" dirty="0">
                <a:solidFill>
                  <a:srgbClr val="F1F1F1"/>
                </a:solidFill>
              </a:rPr>
              <a:t> </a:t>
            </a:r>
            <a:r>
              <a:rPr sz="1600" b="1" dirty="0">
                <a:solidFill>
                  <a:srgbClr val="F1F1F1"/>
                </a:solidFill>
              </a:rPr>
              <a:t>Only</a:t>
            </a:r>
            <a:endParaRPr sz="1600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7090865"/>
            <a:ext cx="14630397" cy="59497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3" name="object 3"/>
          <p:cNvSpPr/>
          <p:nvPr/>
        </p:nvSpPr>
        <p:spPr>
          <a:xfrm>
            <a:off x="0" y="7316416"/>
            <a:ext cx="14630400" cy="91318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4" name="object 4"/>
          <p:cNvSpPr/>
          <p:nvPr/>
        </p:nvSpPr>
        <p:spPr>
          <a:xfrm>
            <a:off x="12522403" y="7467600"/>
            <a:ext cx="1960474" cy="61447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5" name="object 5"/>
          <p:cNvSpPr/>
          <p:nvPr/>
        </p:nvSpPr>
        <p:spPr>
          <a:xfrm>
            <a:off x="0" y="1"/>
            <a:ext cx="14630400" cy="8229598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6" name="object 6"/>
          <p:cNvSpPr/>
          <p:nvPr/>
        </p:nvSpPr>
        <p:spPr>
          <a:xfrm>
            <a:off x="0" y="0"/>
            <a:ext cx="14630400" cy="8229600"/>
          </a:xfrm>
          <a:custGeom>
            <a:avLst/>
            <a:gdLst/>
            <a:ahLst/>
            <a:cxnLst/>
            <a:rect l="l" t="t" r="r" b="b"/>
            <a:pathLst>
              <a:path w="9144000" h="5143500">
                <a:moveTo>
                  <a:pt x="0" y="5143500"/>
                </a:moveTo>
                <a:lnTo>
                  <a:pt x="9144000" y="5143500"/>
                </a:lnTo>
                <a:lnTo>
                  <a:pt x="9144000" y="0"/>
                </a:lnTo>
                <a:lnTo>
                  <a:pt x="0" y="0"/>
                </a:lnTo>
                <a:lnTo>
                  <a:pt x="0" y="5143500"/>
                </a:lnTo>
                <a:close/>
              </a:path>
            </a:pathLst>
          </a:custGeom>
          <a:solidFill>
            <a:srgbClr val="12203E"/>
          </a:solid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7" name="object 7"/>
          <p:cNvSpPr/>
          <p:nvPr/>
        </p:nvSpPr>
        <p:spPr>
          <a:xfrm>
            <a:off x="0" y="9753"/>
            <a:ext cx="14630400" cy="515233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8" name="object 8"/>
          <p:cNvSpPr/>
          <p:nvPr/>
        </p:nvSpPr>
        <p:spPr>
          <a:xfrm>
            <a:off x="11256132" y="1846752"/>
            <a:ext cx="143256" cy="936752"/>
          </a:xfrm>
          <a:custGeom>
            <a:avLst/>
            <a:gdLst/>
            <a:ahLst/>
            <a:cxnLst/>
            <a:rect l="l" t="t" r="r" b="b"/>
            <a:pathLst>
              <a:path w="89534" h="585469">
                <a:moveTo>
                  <a:pt x="44941" y="0"/>
                </a:moveTo>
                <a:lnTo>
                  <a:pt x="27483" y="3561"/>
                </a:lnTo>
                <a:lnTo>
                  <a:pt x="13194" y="13263"/>
                </a:lnTo>
                <a:lnTo>
                  <a:pt x="3543" y="27626"/>
                </a:lnTo>
                <a:lnTo>
                  <a:pt x="0" y="45176"/>
                </a:lnTo>
                <a:lnTo>
                  <a:pt x="0" y="540546"/>
                </a:lnTo>
                <a:lnTo>
                  <a:pt x="3543" y="557777"/>
                </a:lnTo>
                <a:lnTo>
                  <a:pt x="13194" y="571970"/>
                </a:lnTo>
                <a:lnTo>
                  <a:pt x="27483" y="581602"/>
                </a:lnTo>
                <a:lnTo>
                  <a:pt x="44941" y="585150"/>
                </a:lnTo>
                <a:lnTo>
                  <a:pt x="62089" y="581602"/>
                </a:lnTo>
                <a:lnTo>
                  <a:pt x="76218" y="571970"/>
                </a:lnTo>
                <a:lnTo>
                  <a:pt x="85811" y="557777"/>
                </a:lnTo>
                <a:lnTo>
                  <a:pt x="89346" y="540546"/>
                </a:lnTo>
                <a:lnTo>
                  <a:pt x="89346" y="45176"/>
                </a:lnTo>
                <a:lnTo>
                  <a:pt x="85811" y="27626"/>
                </a:lnTo>
                <a:lnTo>
                  <a:pt x="76218" y="13263"/>
                </a:lnTo>
                <a:lnTo>
                  <a:pt x="62089" y="3561"/>
                </a:lnTo>
                <a:lnTo>
                  <a:pt x="44941" y="0"/>
                </a:lnTo>
                <a:close/>
              </a:path>
            </a:pathLst>
          </a:custGeom>
          <a:solidFill>
            <a:srgbClr val="FDFDFD"/>
          </a:solid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9" name="object 9"/>
          <p:cNvSpPr/>
          <p:nvPr/>
        </p:nvSpPr>
        <p:spPr>
          <a:xfrm>
            <a:off x="12203094" y="1847742"/>
            <a:ext cx="930656" cy="935736"/>
          </a:xfrm>
          <a:custGeom>
            <a:avLst/>
            <a:gdLst/>
            <a:ahLst/>
            <a:cxnLst/>
            <a:rect l="l" t="t" r="r" b="b"/>
            <a:pathLst>
              <a:path w="581659" h="584835">
                <a:moveTo>
                  <a:pt x="290471" y="0"/>
                </a:moveTo>
                <a:lnTo>
                  <a:pt x="243396" y="3842"/>
                </a:lnTo>
                <a:lnTo>
                  <a:pt x="198724" y="14964"/>
                </a:lnTo>
                <a:lnTo>
                  <a:pt x="157057" y="32751"/>
                </a:lnTo>
                <a:lnTo>
                  <a:pt x="118995" y="56594"/>
                </a:lnTo>
                <a:lnTo>
                  <a:pt x="85140" y="85880"/>
                </a:lnTo>
                <a:lnTo>
                  <a:pt x="56092" y="119997"/>
                </a:lnTo>
                <a:lnTo>
                  <a:pt x="32453" y="158334"/>
                </a:lnTo>
                <a:lnTo>
                  <a:pt x="14824" y="200279"/>
                </a:lnTo>
                <a:lnTo>
                  <a:pt x="3806" y="245221"/>
                </a:lnTo>
                <a:lnTo>
                  <a:pt x="0" y="292548"/>
                </a:lnTo>
                <a:lnTo>
                  <a:pt x="3806" y="339861"/>
                </a:lnTo>
                <a:lnTo>
                  <a:pt x="14824" y="384761"/>
                </a:lnTo>
                <a:lnTo>
                  <a:pt x="32453" y="426643"/>
                </a:lnTo>
                <a:lnTo>
                  <a:pt x="56092" y="464904"/>
                </a:lnTo>
                <a:lnTo>
                  <a:pt x="85140" y="498937"/>
                </a:lnTo>
                <a:lnTo>
                  <a:pt x="118995" y="528139"/>
                </a:lnTo>
                <a:lnTo>
                  <a:pt x="157057" y="551904"/>
                </a:lnTo>
                <a:lnTo>
                  <a:pt x="198724" y="569628"/>
                </a:lnTo>
                <a:lnTo>
                  <a:pt x="243396" y="580706"/>
                </a:lnTo>
                <a:lnTo>
                  <a:pt x="290471" y="584532"/>
                </a:lnTo>
                <a:lnTo>
                  <a:pt x="337107" y="580737"/>
                </a:lnTo>
                <a:lnTo>
                  <a:pt x="381999" y="569619"/>
                </a:lnTo>
                <a:lnTo>
                  <a:pt x="424365" y="551582"/>
                </a:lnTo>
                <a:lnTo>
                  <a:pt x="463421" y="527027"/>
                </a:lnTo>
                <a:lnTo>
                  <a:pt x="498384" y="496358"/>
                </a:lnTo>
                <a:lnTo>
                  <a:pt x="499726" y="494736"/>
                </a:lnTo>
                <a:lnTo>
                  <a:pt x="290471" y="494736"/>
                </a:lnTo>
                <a:lnTo>
                  <a:pt x="244101" y="489340"/>
                </a:lnTo>
                <a:lnTo>
                  <a:pt x="201486" y="473967"/>
                </a:lnTo>
                <a:lnTo>
                  <a:pt x="163894" y="449839"/>
                </a:lnTo>
                <a:lnTo>
                  <a:pt x="132595" y="418180"/>
                </a:lnTo>
                <a:lnTo>
                  <a:pt x="108859" y="380213"/>
                </a:lnTo>
                <a:lnTo>
                  <a:pt x="93955" y="337160"/>
                </a:lnTo>
                <a:lnTo>
                  <a:pt x="537152" y="337160"/>
                </a:lnTo>
                <a:lnTo>
                  <a:pt x="554288" y="333611"/>
                </a:lnTo>
                <a:lnTo>
                  <a:pt x="568391" y="323979"/>
                </a:lnTo>
                <a:lnTo>
                  <a:pt x="577957" y="309784"/>
                </a:lnTo>
                <a:lnTo>
                  <a:pt x="581480" y="292548"/>
                </a:lnTo>
                <a:lnTo>
                  <a:pt x="581480" y="287914"/>
                </a:lnTo>
                <a:lnTo>
                  <a:pt x="580942" y="285598"/>
                </a:lnTo>
                <a:lnTo>
                  <a:pt x="577063" y="247364"/>
                </a:lnTo>
                <a:lnTo>
                  <a:pt x="93955" y="247364"/>
                </a:lnTo>
                <a:lnTo>
                  <a:pt x="108859" y="204514"/>
                </a:lnTo>
                <a:lnTo>
                  <a:pt x="132595" y="166608"/>
                </a:lnTo>
                <a:lnTo>
                  <a:pt x="163894" y="134914"/>
                </a:lnTo>
                <a:lnTo>
                  <a:pt x="201486" y="110704"/>
                </a:lnTo>
                <a:lnTo>
                  <a:pt x="244101" y="95246"/>
                </a:lnTo>
                <a:lnTo>
                  <a:pt x="290471" y="89811"/>
                </a:lnTo>
                <a:lnTo>
                  <a:pt x="499135" y="89811"/>
                </a:lnTo>
                <a:lnTo>
                  <a:pt x="493612" y="83490"/>
                </a:lnTo>
                <a:lnTo>
                  <a:pt x="459922" y="54981"/>
                </a:lnTo>
                <a:lnTo>
                  <a:pt x="422181" y="31797"/>
                </a:lnTo>
                <a:lnTo>
                  <a:pt x="380971" y="14519"/>
                </a:lnTo>
                <a:lnTo>
                  <a:pt x="336874" y="3726"/>
                </a:lnTo>
                <a:lnTo>
                  <a:pt x="290471" y="0"/>
                </a:lnTo>
                <a:close/>
              </a:path>
              <a:path w="581659" h="584835">
                <a:moveTo>
                  <a:pt x="484249" y="390165"/>
                </a:moveTo>
                <a:lnTo>
                  <a:pt x="468245" y="396194"/>
                </a:lnTo>
                <a:lnTo>
                  <a:pt x="455258" y="408415"/>
                </a:lnTo>
                <a:lnTo>
                  <a:pt x="422963" y="444877"/>
                </a:lnTo>
                <a:lnTo>
                  <a:pt x="383466" y="471998"/>
                </a:lnTo>
                <a:lnTo>
                  <a:pt x="338668" y="488907"/>
                </a:lnTo>
                <a:lnTo>
                  <a:pt x="290471" y="494736"/>
                </a:lnTo>
                <a:lnTo>
                  <a:pt x="499726" y="494736"/>
                </a:lnTo>
                <a:lnTo>
                  <a:pt x="528471" y="459978"/>
                </a:lnTo>
                <a:lnTo>
                  <a:pt x="535431" y="443692"/>
                </a:lnTo>
                <a:lnTo>
                  <a:pt x="535750" y="426592"/>
                </a:lnTo>
                <a:lnTo>
                  <a:pt x="529703" y="410688"/>
                </a:lnTo>
                <a:lnTo>
                  <a:pt x="517562" y="397990"/>
                </a:lnTo>
                <a:lnTo>
                  <a:pt x="501334" y="390655"/>
                </a:lnTo>
                <a:lnTo>
                  <a:pt x="484249" y="390165"/>
                </a:lnTo>
                <a:close/>
              </a:path>
              <a:path w="581659" h="584835">
                <a:moveTo>
                  <a:pt x="499135" y="89811"/>
                </a:moveTo>
                <a:lnTo>
                  <a:pt x="290471" y="89811"/>
                </a:lnTo>
                <a:lnTo>
                  <a:pt x="336835" y="95246"/>
                </a:lnTo>
                <a:lnTo>
                  <a:pt x="379438" y="110704"/>
                </a:lnTo>
                <a:lnTo>
                  <a:pt x="417019" y="134914"/>
                </a:lnTo>
                <a:lnTo>
                  <a:pt x="448312" y="166608"/>
                </a:lnTo>
                <a:lnTo>
                  <a:pt x="472056" y="204514"/>
                </a:lnTo>
                <a:lnTo>
                  <a:pt x="486986" y="247364"/>
                </a:lnTo>
                <a:lnTo>
                  <a:pt x="577063" y="247364"/>
                </a:lnTo>
                <a:lnTo>
                  <a:pt x="576231" y="239169"/>
                </a:lnTo>
                <a:lnTo>
                  <a:pt x="564561" y="195164"/>
                </a:lnTo>
                <a:lnTo>
                  <a:pt x="546514" y="154162"/>
                </a:lnTo>
                <a:lnTo>
                  <a:pt x="522670" y="116744"/>
                </a:lnTo>
                <a:lnTo>
                  <a:pt x="499135" y="89811"/>
                </a:lnTo>
                <a:close/>
              </a:path>
            </a:pathLst>
          </a:custGeom>
          <a:solidFill>
            <a:srgbClr val="FDFDFD"/>
          </a:solid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0" name="object 10"/>
          <p:cNvSpPr/>
          <p:nvPr/>
        </p:nvSpPr>
        <p:spPr>
          <a:xfrm>
            <a:off x="13099415" y="1846753"/>
            <a:ext cx="201830" cy="103912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1" name="object 11"/>
          <p:cNvSpPr/>
          <p:nvPr/>
        </p:nvSpPr>
        <p:spPr>
          <a:xfrm>
            <a:off x="11576090" y="1846752"/>
            <a:ext cx="653288" cy="936752"/>
          </a:xfrm>
          <a:custGeom>
            <a:avLst/>
            <a:gdLst/>
            <a:ahLst/>
            <a:cxnLst/>
            <a:rect l="l" t="t" r="r" b="b"/>
            <a:pathLst>
              <a:path w="408304" h="585469">
                <a:moveTo>
                  <a:pt x="363684" y="0"/>
                </a:moveTo>
                <a:lnTo>
                  <a:pt x="231700" y="0"/>
                </a:lnTo>
                <a:lnTo>
                  <a:pt x="184998" y="4756"/>
                </a:lnTo>
                <a:lnTo>
                  <a:pt x="141502" y="18386"/>
                </a:lnTo>
                <a:lnTo>
                  <a:pt x="102144" y="39934"/>
                </a:lnTo>
                <a:lnTo>
                  <a:pt x="67854" y="68440"/>
                </a:lnTo>
                <a:lnTo>
                  <a:pt x="39564" y="102949"/>
                </a:lnTo>
                <a:lnTo>
                  <a:pt x="18204" y="142503"/>
                </a:lnTo>
                <a:lnTo>
                  <a:pt x="4706" y="186144"/>
                </a:lnTo>
                <a:lnTo>
                  <a:pt x="0" y="232915"/>
                </a:lnTo>
                <a:lnTo>
                  <a:pt x="0" y="540546"/>
                </a:lnTo>
                <a:lnTo>
                  <a:pt x="3448" y="557777"/>
                </a:lnTo>
                <a:lnTo>
                  <a:pt x="12896" y="571970"/>
                </a:lnTo>
                <a:lnTo>
                  <a:pt x="26997" y="581602"/>
                </a:lnTo>
                <a:lnTo>
                  <a:pt x="44404" y="585150"/>
                </a:lnTo>
                <a:lnTo>
                  <a:pt x="61766" y="581602"/>
                </a:lnTo>
                <a:lnTo>
                  <a:pt x="75844" y="571970"/>
                </a:lnTo>
                <a:lnTo>
                  <a:pt x="85284" y="557777"/>
                </a:lnTo>
                <a:lnTo>
                  <a:pt x="88731" y="540546"/>
                </a:lnTo>
                <a:lnTo>
                  <a:pt x="88731" y="232915"/>
                </a:lnTo>
                <a:lnTo>
                  <a:pt x="96018" y="187776"/>
                </a:lnTo>
                <a:lnTo>
                  <a:pt x="116311" y="148505"/>
                </a:lnTo>
                <a:lnTo>
                  <a:pt x="147258" y="117492"/>
                </a:lnTo>
                <a:lnTo>
                  <a:pt x="186505" y="97130"/>
                </a:lnTo>
                <a:lnTo>
                  <a:pt x="231700" y="89811"/>
                </a:lnTo>
                <a:lnTo>
                  <a:pt x="363684" y="89811"/>
                </a:lnTo>
                <a:lnTo>
                  <a:pt x="380819" y="86269"/>
                </a:lnTo>
                <a:lnTo>
                  <a:pt x="394922" y="76644"/>
                </a:lnTo>
                <a:lnTo>
                  <a:pt x="404488" y="62445"/>
                </a:lnTo>
                <a:lnTo>
                  <a:pt x="408011" y="45176"/>
                </a:lnTo>
                <a:lnTo>
                  <a:pt x="404488" y="27626"/>
                </a:lnTo>
                <a:lnTo>
                  <a:pt x="394922" y="13263"/>
                </a:lnTo>
                <a:lnTo>
                  <a:pt x="380819" y="3561"/>
                </a:lnTo>
                <a:lnTo>
                  <a:pt x="363684" y="0"/>
                </a:lnTo>
                <a:close/>
              </a:path>
            </a:pathLst>
          </a:custGeom>
          <a:solidFill>
            <a:srgbClr val="FDFDFD"/>
          </a:solid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2" name="object 12"/>
          <p:cNvSpPr/>
          <p:nvPr/>
        </p:nvSpPr>
        <p:spPr>
          <a:xfrm>
            <a:off x="10149623" y="1847742"/>
            <a:ext cx="929640" cy="935736"/>
          </a:xfrm>
          <a:custGeom>
            <a:avLst/>
            <a:gdLst/>
            <a:ahLst/>
            <a:cxnLst/>
            <a:rect l="l" t="t" r="r" b="b"/>
            <a:pathLst>
              <a:path w="581025" h="584835">
                <a:moveTo>
                  <a:pt x="290471" y="0"/>
                </a:moveTo>
                <a:lnTo>
                  <a:pt x="243414" y="3842"/>
                </a:lnTo>
                <a:lnTo>
                  <a:pt x="198753" y="14964"/>
                </a:lnTo>
                <a:lnTo>
                  <a:pt x="157090" y="32751"/>
                </a:lnTo>
                <a:lnTo>
                  <a:pt x="119028" y="56594"/>
                </a:lnTo>
                <a:lnTo>
                  <a:pt x="85168" y="85880"/>
                </a:lnTo>
                <a:lnTo>
                  <a:pt x="56114" y="119997"/>
                </a:lnTo>
                <a:lnTo>
                  <a:pt x="32468" y="158334"/>
                </a:lnTo>
                <a:lnTo>
                  <a:pt x="14831" y="200279"/>
                </a:lnTo>
                <a:lnTo>
                  <a:pt x="3808" y="245221"/>
                </a:lnTo>
                <a:lnTo>
                  <a:pt x="0" y="292548"/>
                </a:lnTo>
                <a:lnTo>
                  <a:pt x="3808" y="339861"/>
                </a:lnTo>
                <a:lnTo>
                  <a:pt x="14831" y="384761"/>
                </a:lnTo>
                <a:lnTo>
                  <a:pt x="32468" y="426643"/>
                </a:lnTo>
                <a:lnTo>
                  <a:pt x="56114" y="464904"/>
                </a:lnTo>
                <a:lnTo>
                  <a:pt x="85168" y="498937"/>
                </a:lnTo>
                <a:lnTo>
                  <a:pt x="119028" y="528139"/>
                </a:lnTo>
                <a:lnTo>
                  <a:pt x="157090" y="551904"/>
                </a:lnTo>
                <a:lnTo>
                  <a:pt x="198753" y="569628"/>
                </a:lnTo>
                <a:lnTo>
                  <a:pt x="243414" y="580706"/>
                </a:lnTo>
                <a:lnTo>
                  <a:pt x="290471" y="584532"/>
                </a:lnTo>
                <a:lnTo>
                  <a:pt x="336505" y="580871"/>
                </a:lnTo>
                <a:lnTo>
                  <a:pt x="380223" y="570258"/>
                </a:lnTo>
                <a:lnTo>
                  <a:pt x="421098" y="553248"/>
                </a:lnTo>
                <a:lnTo>
                  <a:pt x="458603" y="530399"/>
                </a:lnTo>
                <a:lnTo>
                  <a:pt x="492210" y="502266"/>
                </a:lnTo>
                <a:lnTo>
                  <a:pt x="580942" y="502266"/>
                </a:lnTo>
                <a:lnTo>
                  <a:pt x="580942" y="494736"/>
                </a:lnTo>
                <a:lnTo>
                  <a:pt x="290471" y="494736"/>
                </a:lnTo>
                <a:lnTo>
                  <a:pt x="244269" y="489404"/>
                </a:lnTo>
                <a:lnTo>
                  <a:pt x="201828" y="474211"/>
                </a:lnTo>
                <a:lnTo>
                  <a:pt x="164367" y="450364"/>
                </a:lnTo>
                <a:lnTo>
                  <a:pt x="133107" y="419068"/>
                </a:lnTo>
                <a:lnTo>
                  <a:pt x="109267" y="381530"/>
                </a:lnTo>
                <a:lnTo>
                  <a:pt x="94068" y="338954"/>
                </a:lnTo>
                <a:lnTo>
                  <a:pt x="88731" y="292548"/>
                </a:lnTo>
                <a:lnTo>
                  <a:pt x="94068" y="246111"/>
                </a:lnTo>
                <a:lnTo>
                  <a:pt x="109267" y="203457"/>
                </a:lnTo>
                <a:lnTo>
                  <a:pt x="133107" y="165812"/>
                </a:lnTo>
                <a:lnTo>
                  <a:pt x="164367" y="134399"/>
                </a:lnTo>
                <a:lnTo>
                  <a:pt x="201828" y="110445"/>
                </a:lnTo>
                <a:lnTo>
                  <a:pt x="244269" y="95174"/>
                </a:lnTo>
                <a:lnTo>
                  <a:pt x="290471" y="89811"/>
                </a:lnTo>
                <a:lnTo>
                  <a:pt x="499121" y="89811"/>
                </a:lnTo>
                <a:lnTo>
                  <a:pt x="495773" y="85880"/>
                </a:lnTo>
                <a:lnTo>
                  <a:pt x="461913" y="56594"/>
                </a:lnTo>
                <a:lnTo>
                  <a:pt x="423851" y="32751"/>
                </a:lnTo>
                <a:lnTo>
                  <a:pt x="382188" y="14964"/>
                </a:lnTo>
                <a:lnTo>
                  <a:pt x="337527" y="3842"/>
                </a:lnTo>
                <a:lnTo>
                  <a:pt x="290471" y="0"/>
                </a:lnTo>
                <a:close/>
              </a:path>
              <a:path w="581025" h="584835">
                <a:moveTo>
                  <a:pt x="580942" y="502266"/>
                </a:moveTo>
                <a:lnTo>
                  <a:pt x="492210" y="502266"/>
                </a:lnTo>
                <a:lnTo>
                  <a:pt x="492210" y="539928"/>
                </a:lnTo>
                <a:lnTo>
                  <a:pt x="495658" y="557160"/>
                </a:lnTo>
                <a:lnTo>
                  <a:pt x="505097" y="571352"/>
                </a:lnTo>
                <a:lnTo>
                  <a:pt x="519175" y="580984"/>
                </a:lnTo>
                <a:lnTo>
                  <a:pt x="536538" y="584532"/>
                </a:lnTo>
                <a:lnTo>
                  <a:pt x="553944" y="580984"/>
                </a:lnTo>
                <a:lnTo>
                  <a:pt x="568045" y="571352"/>
                </a:lnTo>
                <a:lnTo>
                  <a:pt x="577493" y="557160"/>
                </a:lnTo>
                <a:lnTo>
                  <a:pt x="580942" y="539928"/>
                </a:lnTo>
                <a:lnTo>
                  <a:pt x="580942" y="502266"/>
                </a:lnTo>
                <a:close/>
              </a:path>
              <a:path w="581025" h="584835">
                <a:moveTo>
                  <a:pt x="499121" y="89811"/>
                </a:moveTo>
                <a:lnTo>
                  <a:pt x="290471" y="89811"/>
                </a:lnTo>
                <a:lnTo>
                  <a:pt x="336672" y="95174"/>
                </a:lnTo>
                <a:lnTo>
                  <a:pt x="379113" y="110445"/>
                </a:lnTo>
                <a:lnTo>
                  <a:pt x="416574" y="134399"/>
                </a:lnTo>
                <a:lnTo>
                  <a:pt x="447835" y="165812"/>
                </a:lnTo>
                <a:lnTo>
                  <a:pt x="471674" y="203457"/>
                </a:lnTo>
                <a:lnTo>
                  <a:pt x="486873" y="246111"/>
                </a:lnTo>
                <a:lnTo>
                  <a:pt x="492210" y="292548"/>
                </a:lnTo>
                <a:lnTo>
                  <a:pt x="486873" y="338954"/>
                </a:lnTo>
                <a:lnTo>
                  <a:pt x="471674" y="381530"/>
                </a:lnTo>
                <a:lnTo>
                  <a:pt x="447835" y="419068"/>
                </a:lnTo>
                <a:lnTo>
                  <a:pt x="416574" y="450364"/>
                </a:lnTo>
                <a:lnTo>
                  <a:pt x="379113" y="474211"/>
                </a:lnTo>
                <a:lnTo>
                  <a:pt x="336672" y="489404"/>
                </a:lnTo>
                <a:lnTo>
                  <a:pt x="290471" y="494736"/>
                </a:lnTo>
                <a:lnTo>
                  <a:pt x="580942" y="494736"/>
                </a:lnTo>
                <a:lnTo>
                  <a:pt x="580942" y="292548"/>
                </a:lnTo>
                <a:lnTo>
                  <a:pt x="577133" y="245221"/>
                </a:lnTo>
                <a:lnTo>
                  <a:pt x="566110" y="200279"/>
                </a:lnTo>
                <a:lnTo>
                  <a:pt x="548474" y="158334"/>
                </a:lnTo>
                <a:lnTo>
                  <a:pt x="524827" y="119997"/>
                </a:lnTo>
                <a:lnTo>
                  <a:pt x="499121" y="89811"/>
                </a:lnTo>
                <a:close/>
              </a:path>
            </a:pathLst>
          </a:custGeom>
          <a:solidFill>
            <a:srgbClr val="FDFDFD"/>
          </a:solid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3" name="object 13"/>
          <p:cNvSpPr/>
          <p:nvPr/>
        </p:nvSpPr>
        <p:spPr>
          <a:xfrm>
            <a:off x="7939430" y="1847742"/>
            <a:ext cx="1121664" cy="935736"/>
          </a:xfrm>
          <a:custGeom>
            <a:avLst/>
            <a:gdLst/>
            <a:ahLst/>
            <a:cxnLst/>
            <a:rect l="l" t="t" r="r" b="b"/>
            <a:pathLst>
              <a:path w="701039" h="584835">
                <a:moveTo>
                  <a:pt x="0" y="0"/>
                </a:moveTo>
                <a:lnTo>
                  <a:pt x="306012" y="558462"/>
                </a:lnTo>
                <a:lnTo>
                  <a:pt x="337051" y="582496"/>
                </a:lnTo>
                <a:lnTo>
                  <a:pt x="350386" y="584532"/>
                </a:lnTo>
                <a:lnTo>
                  <a:pt x="363714" y="582496"/>
                </a:lnTo>
                <a:lnTo>
                  <a:pt x="376177" y="576930"/>
                </a:lnTo>
                <a:lnTo>
                  <a:pt x="386696" y="568647"/>
                </a:lnTo>
                <a:lnTo>
                  <a:pt x="394191" y="558462"/>
                </a:lnTo>
                <a:lnTo>
                  <a:pt x="451755" y="453607"/>
                </a:lnTo>
                <a:lnTo>
                  <a:pt x="350386" y="453607"/>
                </a:lnTo>
                <a:lnTo>
                  <a:pt x="152718" y="94445"/>
                </a:lnTo>
                <a:lnTo>
                  <a:pt x="129989" y="57664"/>
                </a:lnTo>
                <a:lnTo>
                  <a:pt x="100561" y="27646"/>
                </a:lnTo>
                <a:lnTo>
                  <a:pt x="59032" y="7415"/>
                </a:lnTo>
                <a:lnTo>
                  <a:pt x="0" y="0"/>
                </a:lnTo>
                <a:close/>
              </a:path>
              <a:path w="701039" h="584835">
                <a:moveTo>
                  <a:pt x="700779" y="0"/>
                </a:moveTo>
                <a:lnTo>
                  <a:pt x="641409" y="7415"/>
                </a:lnTo>
                <a:lnTo>
                  <a:pt x="599708" y="27646"/>
                </a:lnTo>
                <a:lnTo>
                  <a:pt x="570219" y="57664"/>
                </a:lnTo>
                <a:lnTo>
                  <a:pt x="547485" y="94445"/>
                </a:lnTo>
                <a:lnTo>
                  <a:pt x="350386" y="453607"/>
                </a:lnTo>
                <a:lnTo>
                  <a:pt x="451755" y="453607"/>
                </a:lnTo>
                <a:lnTo>
                  <a:pt x="700779" y="0"/>
                </a:lnTo>
                <a:close/>
              </a:path>
            </a:pathLst>
          </a:custGeom>
          <a:solidFill>
            <a:srgbClr val="FDFDFD"/>
          </a:solid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4" name="object 14"/>
          <p:cNvSpPr/>
          <p:nvPr/>
        </p:nvSpPr>
        <p:spPr>
          <a:xfrm>
            <a:off x="9103085" y="1847742"/>
            <a:ext cx="1121664" cy="1205992"/>
          </a:xfrm>
          <a:custGeom>
            <a:avLst/>
            <a:gdLst/>
            <a:ahLst/>
            <a:cxnLst/>
            <a:rect l="l" t="t" r="r" b="b"/>
            <a:pathLst>
              <a:path w="701039" h="753744">
                <a:moveTo>
                  <a:pt x="0" y="0"/>
                </a:moveTo>
                <a:lnTo>
                  <a:pt x="299697" y="546299"/>
                </a:lnTo>
                <a:lnTo>
                  <a:pt x="186151" y="753121"/>
                </a:lnTo>
                <a:lnTo>
                  <a:pt x="245285" y="745697"/>
                </a:lnTo>
                <a:lnTo>
                  <a:pt x="287012" y="725456"/>
                </a:lnTo>
                <a:lnTo>
                  <a:pt x="316624" y="695440"/>
                </a:lnTo>
                <a:lnTo>
                  <a:pt x="339415" y="658691"/>
                </a:lnTo>
                <a:lnTo>
                  <a:pt x="451931" y="453607"/>
                </a:lnTo>
                <a:lnTo>
                  <a:pt x="350401" y="453607"/>
                </a:lnTo>
                <a:lnTo>
                  <a:pt x="153271" y="94445"/>
                </a:lnTo>
                <a:lnTo>
                  <a:pt x="130220" y="57664"/>
                </a:lnTo>
                <a:lnTo>
                  <a:pt x="100636" y="27646"/>
                </a:lnTo>
                <a:lnTo>
                  <a:pt x="59052" y="7415"/>
                </a:lnTo>
                <a:lnTo>
                  <a:pt x="0" y="0"/>
                </a:lnTo>
                <a:close/>
              </a:path>
              <a:path w="701039" h="753744">
                <a:moveTo>
                  <a:pt x="700795" y="0"/>
                </a:moveTo>
                <a:lnTo>
                  <a:pt x="641433" y="7415"/>
                </a:lnTo>
                <a:lnTo>
                  <a:pt x="599723" y="27646"/>
                </a:lnTo>
                <a:lnTo>
                  <a:pt x="570215" y="57664"/>
                </a:lnTo>
                <a:lnTo>
                  <a:pt x="547454" y="94445"/>
                </a:lnTo>
                <a:lnTo>
                  <a:pt x="350401" y="453607"/>
                </a:lnTo>
                <a:lnTo>
                  <a:pt x="451931" y="453607"/>
                </a:lnTo>
                <a:lnTo>
                  <a:pt x="700795" y="0"/>
                </a:lnTo>
                <a:close/>
              </a:path>
            </a:pathLst>
          </a:custGeom>
          <a:solidFill>
            <a:srgbClr val="FDFDFD"/>
          </a:solid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5" name="object 15"/>
          <p:cNvSpPr/>
          <p:nvPr/>
        </p:nvSpPr>
        <p:spPr>
          <a:xfrm>
            <a:off x="10136717" y="3050882"/>
            <a:ext cx="240674" cy="207629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6" name="object 16"/>
          <p:cNvSpPr/>
          <p:nvPr/>
        </p:nvSpPr>
        <p:spPr>
          <a:xfrm>
            <a:off x="10697346" y="3239769"/>
            <a:ext cx="131064" cy="19304"/>
          </a:xfrm>
          <a:custGeom>
            <a:avLst/>
            <a:gdLst/>
            <a:ahLst/>
            <a:cxnLst/>
            <a:rect l="l" t="t" r="r" b="b"/>
            <a:pathLst>
              <a:path w="81915" h="12064">
                <a:moveTo>
                  <a:pt x="0" y="11459"/>
                </a:moveTo>
                <a:lnTo>
                  <a:pt x="81817" y="11459"/>
                </a:lnTo>
                <a:lnTo>
                  <a:pt x="81817" y="0"/>
                </a:lnTo>
                <a:lnTo>
                  <a:pt x="0" y="0"/>
                </a:lnTo>
                <a:lnTo>
                  <a:pt x="0" y="11459"/>
                </a:lnTo>
                <a:close/>
              </a:path>
            </a:pathLst>
          </a:custGeom>
          <a:solidFill>
            <a:srgbClr val="00A4DC"/>
          </a:solid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7" name="object 17"/>
          <p:cNvSpPr/>
          <p:nvPr/>
        </p:nvSpPr>
        <p:spPr>
          <a:xfrm>
            <a:off x="10697346" y="3160314"/>
            <a:ext cx="24384" cy="80264"/>
          </a:xfrm>
          <a:custGeom>
            <a:avLst/>
            <a:gdLst/>
            <a:ahLst/>
            <a:cxnLst/>
            <a:rect l="l" t="t" r="r" b="b"/>
            <a:pathLst>
              <a:path w="15240" h="50164">
                <a:moveTo>
                  <a:pt x="0" y="49658"/>
                </a:moveTo>
                <a:lnTo>
                  <a:pt x="14980" y="49658"/>
                </a:lnTo>
                <a:lnTo>
                  <a:pt x="14980" y="0"/>
                </a:lnTo>
                <a:lnTo>
                  <a:pt x="0" y="0"/>
                </a:lnTo>
                <a:lnTo>
                  <a:pt x="0" y="49658"/>
                </a:lnTo>
                <a:close/>
              </a:path>
            </a:pathLst>
          </a:custGeom>
          <a:solidFill>
            <a:srgbClr val="00A4DC"/>
          </a:solid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8" name="object 18"/>
          <p:cNvSpPr/>
          <p:nvPr/>
        </p:nvSpPr>
        <p:spPr>
          <a:xfrm>
            <a:off x="10697346" y="3139942"/>
            <a:ext cx="119888" cy="21336"/>
          </a:xfrm>
          <a:custGeom>
            <a:avLst/>
            <a:gdLst/>
            <a:ahLst/>
            <a:cxnLst/>
            <a:rect l="l" t="t" r="r" b="b"/>
            <a:pathLst>
              <a:path w="74929" h="13335">
                <a:moveTo>
                  <a:pt x="0" y="12733"/>
                </a:moveTo>
                <a:lnTo>
                  <a:pt x="74903" y="12733"/>
                </a:lnTo>
                <a:lnTo>
                  <a:pt x="74903" y="0"/>
                </a:lnTo>
                <a:lnTo>
                  <a:pt x="0" y="0"/>
                </a:lnTo>
                <a:lnTo>
                  <a:pt x="0" y="12733"/>
                </a:lnTo>
                <a:close/>
              </a:path>
            </a:pathLst>
          </a:custGeom>
          <a:solidFill>
            <a:srgbClr val="00A4DC"/>
          </a:solid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9" name="object 19"/>
          <p:cNvSpPr/>
          <p:nvPr/>
        </p:nvSpPr>
        <p:spPr>
          <a:xfrm>
            <a:off x="10697346" y="3068636"/>
            <a:ext cx="24384" cy="72136"/>
          </a:xfrm>
          <a:custGeom>
            <a:avLst/>
            <a:gdLst/>
            <a:ahLst/>
            <a:cxnLst/>
            <a:rect l="l" t="t" r="r" b="b"/>
            <a:pathLst>
              <a:path w="15240" h="45085">
                <a:moveTo>
                  <a:pt x="0" y="44565"/>
                </a:moveTo>
                <a:lnTo>
                  <a:pt x="14980" y="44565"/>
                </a:lnTo>
                <a:lnTo>
                  <a:pt x="14980" y="0"/>
                </a:lnTo>
                <a:lnTo>
                  <a:pt x="0" y="0"/>
                </a:lnTo>
                <a:lnTo>
                  <a:pt x="0" y="44565"/>
                </a:lnTo>
                <a:close/>
              </a:path>
            </a:pathLst>
          </a:custGeom>
          <a:solidFill>
            <a:srgbClr val="00A4DC"/>
          </a:solid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20" name="object 20"/>
          <p:cNvSpPr/>
          <p:nvPr/>
        </p:nvSpPr>
        <p:spPr>
          <a:xfrm>
            <a:off x="10697346" y="3050302"/>
            <a:ext cx="129032" cy="19304"/>
          </a:xfrm>
          <a:custGeom>
            <a:avLst/>
            <a:gdLst/>
            <a:ahLst/>
            <a:cxnLst/>
            <a:rect l="l" t="t" r="r" b="b"/>
            <a:pathLst>
              <a:path w="80645" h="12064">
                <a:moveTo>
                  <a:pt x="0" y="11459"/>
                </a:moveTo>
                <a:lnTo>
                  <a:pt x="80127" y="11459"/>
                </a:lnTo>
                <a:lnTo>
                  <a:pt x="80127" y="0"/>
                </a:lnTo>
                <a:lnTo>
                  <a:pt x="0" y="0"/>
                </a:lnTo>
                <a:lnTo>
                  <a:pt x="0" y="11459"/>
                </a:lnTo>
                <a:close/>
              </a:path>
            </a:pathLst>
          </a:custGeom>
          <a:solidFill>
            <a:srgbClr val="00A4DC"/>
          </a:solid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21" name="object 21"/>
          <p:cNvSpPr/>
          <p:nvPr/>
        </p:nvSpPr>
        <p:spPr>
          <a:xfrm>
            <a:off x="11156569" y="3050882"/>
            <a:ext cx="162251" cy="207629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22" name="object 22"/>
          <p:cNvSpPr/>
          <p:nvPr/>
        </p:nvSpPr>
        <p:spPr>
          <a:xfrm>
            <a:off x="11653589" y="3050882"/>
            <a:ext cx="0" cy="208280"/>
          </a:xfrm>
          <a:custGeom>
            <a:avLst/>
            <a:gdLst/>
            <a:ahLst/>
            <a:cxnLst/>
            <a:rect l="l" t="t" r="r" b="b"/>
            <a:pathLst>
              <a:path h="130175">
                <a:moveTo>
                  <a:pt x="0" y="0"/>
                </a:moveTo>
                <a:lnTo>
                  <a:pt x="0" y="129768"/>
                </a:lnTo>
              </a:path>
            </a:pathLst>
          </a:custGeom>
          <a:ln w="14980">
            <a:solidFill>
              <a:srgbClr val="00A4DC"/>
            </a:solidFill>
          </a:ln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23" name="object 23"/>
          <p:cNvSpPr/>
          <p:nvPr/>
        </p:nvSpPr>
        <p:spPr>
          <a:xfrm>
            <a:off x="12000280" y="3049028"/>
            <a:ext cx="147501" cy="211336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24" name="object 24"/>
          <p:cNvSpPr/>
          <p:nvPr/>
        </p:nvSpPr>
        <p:spPr>
          <a:xfrm>
            <a:off x="12477941" y="3049027"/>
            <a:ext cx="188925" cy="209482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25" name="object 25"/>
          <p:cNvSpPr/>
          <p:nvPr/>
        </p:nvSpPr>
        <p:spPr>
          <a:xfrm>
            <a:off x="12996041" y="3239769"/>
            <a:ext cx="131064" cy="19304"/>
          </a:xfrm>
          <a:custGeom>
            <a:avLst/>
            <a:gdLst/>
            <a:ahLst/>
            <a:cxnLst/>
            <a:rect l="l" t="t" r="r" b="b"/>
            <a:pathLst>
              <a:path w="81915" h="12064">
                <a:moveTo>
                  <a:pt x="0" y="11459"/>
                </a:moveTo>
                <a:lnTo>
                  <a:pt x="81894" y="11459"/>
                </a:lnTo>
                <a:lnTo>
                  <a:pt x="81894" y="0"/>
                </a:lnTo>
                <a:lnTo>
                  <a:pt x="0" y="0"/>
                </a:lnTo>
                <a:lnTo>
                  <a:pt x="0" y="11459"/>
                </a:lnTo>
                <a:close/>
              </a:path>
            </a:pathLst>
          </a:custGeom>
          <a:solidFill>
            <a:srgbClr val="00A4DC"/>
          </a:solid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26" name="object 26"/>
          <p:cNvSpPr/>
          <p:nvPr/>
        </p:nvSpPr>
        <p:spPr>
          <a:xfrm>
            <a:off x="13007595" y="3050302"/>
            <a:ext cx="0" cy="189992"/>
          </a:xfrm>
          <a:custGeom>
            <a:avLst/>
            <a:gdLst/>
            <a:ahLst/>
            <a:cxnLst/>
            <a:rect l="l" t="t" r="r" b="b"/>
            <a:pathLst>
              <a:path h="118744">
                <a:moveTo>
                  <a:pt x="0" y="0"/>
                </a:moveTo>
                <a:lnTo>
                  <a:pt x="0" y="118416"/>
                </a:lnTo>
              </a:path>
            </a:pathLst>
          </a:custGeom>
          <a:ln w="14442">
            <a:solidFill>
              <a:srgbClr val="00A4DC"/>
            </a:solidFill>
          </a:ln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27" name="object 27"/>
          <p:cNvSpPr/>
          <p:nvPr/>
        </p:nvSpPr>
        <p:spPr>
          <a:xfrm>
            <a:off x="1" y="1"/>
            <a:ext cx="14630398" cy="8229598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28" name="object 28"/>
          <p:cNvSpPr txBox="1"/>
          <p:nvPr/>
        </p:nvSpPr>
        <p:spPr>
          <a:xfrm>
            <a:off x="1128979" y="7333486"/>
            <a:ext cx="6173216" cy="611449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20320">
              <a:spcBef>
                <a:spcPts val="160"/>
              </a:spcBef>
            </a:pPr>
            <a:r>
              <a:rPr sz="3840" spc="-8" dirty="0">
                <a:solidFill>
                  <a:srgbClr val="6EB7D6"/>
                </a:solidFill>
              </a:rPr>
              <a:t>Single-patient-use</a:t>
            </a:r>
            <a:r>
              <a:rPr sz="3840" spc="64" dirty="0">
                <a:solidFill>
                  <a:srgbClr val="6EB7D6"/>
                </a:solidFill>
              </a:rPr>
              <a:t> </a:t>
            </a:r>
            <a:r>
              <a:rPr sz="3840" spc="-8" dirty="0">
                <a:solidFill>
                  <a:srgbClr val="6EB7D6"/>
                </a:solidFill>
              </a:rPr>
              <a:t>leadwires</a:t>
            </a:r>
            <a:endParaRPr sz="3840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57504" y="362833"/>
            <a:ext cx="5377686" cy="1277273"/>
          </a:xfrm>
          <a:prstGeom prst="rect">
            <a:avLst/>
          </a:prstGeom>
        </p:spPr>
        <p:txBody>
          <a:bodyPr spcFirstLastPara="1" vert="horz" wrap="square" lIns="0" tIns="20320" rIns="0" bIns="0" rtlCol="0" anchor="ctr" anchorCtr="0">
            <a:spAutoFit/>
          </a:bodyPr>
          <a:lstStyle/>
          <a:p>
            <a:pPr marL="20320">
              <a:lnSpc>
                <a:spcPct val="100000"/>
              </a:lnSpc>
              <a:spcBef>
                <a:spcPts val="160"/>
              </a:spcBef>
            </a:pPr>
            <a:r>
              <a:rPr sz="4000" spc="-8" dirty="0"/>
              <a:t>Reusable </a:t>
            </a:r>
            <a:r>
              <a:rPr sz="4000" dirty="0"/>
              <a:t>or</a:t>
            </a:r>
            <a:r>
              <a:rPr sz="4000" spc="-32" dirty="0"/>
              <a:t> </a:t>
            </a:r>
            <a:r>
              <a:rPr sz="4000" dirty="0"/>
              <a:t>SPU</a:t>
            </a:r>
            <a:endParaRPr sz="4000"/>
          </a:p>
          <a:p>
            <a:pPr marL="20320">
              <a:lnSpc>
                <a:spcPct val="100000"/>
              </a:lnSpc>
            </a:pPr>
            <a:r>
              <a:rPr sz="4000" dirty="0"/>
              <a:t>How confident are</a:t>
            </a:r>
            <a:r>
              <a:rPr sz="4000" spc="-176" dirty="0"/>
              <a:t> </a:t>
            </a:r>
            <a:r>
              <a:rPr sz="4000" dirty="0"/>
              <a:t>you?</a:t>
            </a:r>
            <a:endParaRPr sz="4000"/>
          </a:p>
        </p:txBody>
      </p:sp>
      <p:sp>
        <p:nvSpPr>
          <p:cNvPr id="3" name="object 3"/>
          <p:cNvSpPr/>
          <p:nvPr/>
        </p:nvSpPr>
        <p:spPr>
          <a:xfrm>
            <a:off x="2651761" y="2122627"/>
            <a:ext cx="5556386" cy="491825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4" name="object 4"/>
          <p:cNvSpPr txBox="1"/>
          <p:nvPr/>
        </p:nvSpPr>
        <p:spPr>
          <a:xfrm>
            <a:off x="8623402" y="2045817"/>
            <a:ext cx="5641238" cy="3689215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20320" marR="524256">
              <a:spcBef>
                <a:spcPts val="160"/>
              </a:spcBef>
            </a:pPr>
            <a:r>
              <a:rPr sz="2160" b="1" spc="-8" dirty="0">
                <a:solidFill>
                  <a:srgbClr val="0C1524"/>
                </a:solidFill>
              </a:rPr>
              <a:t>University </a:t>
            </a:r>
            <a:r>
              <a:rPr sz="2160" b="1" dirty="0">
                <a:solidFill>
                  <a:srgbClr val="0C1524"/>
                </a:solidFill>
              </a:rPr>
              <a:t>of</a:t>
            </a:r>
            <a:r>
              <a:rPr sz="2160" b="1" spc="-56" dirty="0">
                <a:solidFill>
                  <a:srgbClr val="0C1524"/>
                </a:solidFill>
              </a:rPr>
              <a:t> </a:t>
            </a:r>
            <a:r>
              <a:rPr sz="2160" b="1" spc="-8" dirty="0">
                <a:solidFill>
                  <a:srgbClr val="0C1524"/>
                </a:solidFill>
              </a:rPr>
              <a:t>Wisconsin  Study</a:t>
            </a:r>
            <a:endParaRPr sz="2160" dirty="0"/>
          </a:p>
          <a:p>
            <a:pPr>
              <a:spcBef>
                <a:spcPts val="16"/>
              </a:spcBef>
            </a:pPr>
            <a:endParaRPr sz="2240" dirty="0"/>
          </a:p>
          <a:p>
            <a:pPr marL="363726" marR="53848" indent="-344424">
              <a:buChar char="•"/>
              <a:tabLst>
                <a:tab pos="363726" algn="l"/>
                <a:tab pos="364744" algn="l"/>
              </a:tabLst>
            </a:pPr>
            <a:r>
              <a:rPr sz="2160" dirty="0">
                <a:solidFill>
                  <a:srgbClr val="0C1524"/>
                </a:solidFill>
              </a:rPr>
              <a:t>The most </a:t>
            </a:r>
            <a:r>
              <a:rPr sz="2160" spc="-8" dirty="0">
                <a:solidFill>
                  <a:srgbClr val="0C1524"/>
                </a:solidFill>
              </a:rPr>
              <a:t>frequently cited  </a:t>
            </a:r>
            <a:r>
              <a:rPr sz="2160" dirty="0">
                <a:solidFill>
                  <a:srgbClr val="0C1524"/>
                </a:solidFill>
              </a:rPr>
              <a:t>study </a:t>
            </a:r>
            <a:r>
              <a:rPr sz="2160" spc="-8" dirty="0">
                <a:solidFill>
                  <a:srgbClr val="0C1524"/>
                </a:solidFill>
              </a:rPr>
              <a:t>promoting </a:t>
            </a:r>
            <a:r>
              <a:rPr sz="2160" dirty="0">
                <a:solidFill>
                  <a:srgbClr val="0C1524"/>
                </a:solidFill>
              </a:rPr>
              <a:t>the </a:t>
            </a:r>
            <a:r>
              <a:rPr sz="2160" spc="-8" dirty="0">
                <a:solidFill>
                  <a:srgbClr val="0C1524"/>
                </a:solidFill>
              </a:rPr>
              <a:t>use</a:t>
            </a:r>
            <a:r>
              <a:rPr sz="2160" spc="-80" dirty="0">
                <a:solidFill>
                  <a:srgbClr val="0C1524"/>
                </a:solidFill>
              </a:rPr>
              <a:t> </a:t>
            </a:r>
            <a:r>
              <a:rPr sz="2160" dirty="0">
                <a:solidFill>
                  <a:srgbClr val="0C1524"/>
                </a:solidFill>
              </a:rPr>
              <a:t>of  </a:t>
            </a:r>
            <a:r>
              <a:rPr sz="2160" spc="-8" dirty="0">
                <a:solidFill>
                  <a:srgbClr val="0C1524"/>
                </a:solidFill>
              </a:rPr>
              <a:t>single-patient-use  </a:t>
            </a:r>
            <a:r>
              <a:rPr sz="2160" spc="-8" dirty="0" err="1">
                <a:solidFill>
                  <a:srgbClr val="0C1524"/>
                </a:solidFill>
              </a:rPr>
              <a:t>leadwires</a:t>
            </a:r>
            <a:endParaRPr lang="en-GB" sz="2160" spc="-8" dirty="0">
              <a:solidFill>
                <a:srgbClr val="0C1524"/>
              </a:solidFill>
            </a:endParaRPr>
          </a:p>
          <a:p>
            <a:pPr marL="363726" marR="53848" indent="-344424">
              <a:buChar char="•"/>
              <a:tabLst>
                <a:tab pos="363726" algn="l"/>
                <a:tab pos="364744" algn="l"/>
              </a:tabLst>
            </a:pPr>
            <a:endParaRPr sz="2160" dirty="0"/>
          </a:p>
          <a:p>
            <a:pPr marL="363726" marR="8128" indent="-344424" algn="just">
              <a:buChar char="•"/>
              <a:tabLst>
                <a:tab pos="364744" algn="l"/>
              </a:tabLst>
            </a:pPr>
            <a:r>
              <a:rPr sz="2160" spc="-8" dirty="0">
                <a:solidFill>
                  <a:srgbClr val="0C1524"/>
                </a:solidFill>
              </a:rPr>
              <a:t>UW </a:t>
            </a:r>
            <a:r>
              <a:rPr sz="2160" dirty="0">
                <a:solidFill>
                  <a:srgbClr val="0C1524"/>
                </a:solidFill>
              </a:rPr>
              <a:t>Madison </a:t>
            </a:r>
            <a:r>
              <a:rPr sz="2160" spc="-8" dirty="0">
                <a:solidFill>
                  <a:srgbClr val="0C1524"/>
                </a:solidFill>
              </a:rPr>
              <a:t>swabbed</a:t>
            </a:r>
            <a:r>
              <a:rPr sz="2160" spc="-88" dirty="0">
                <a:solidFill>
                  <a:srgbClr val="0C1524"/>
                </a:solidFill>
              </a:rPr>
              <a:t> </a:t>
            </a:r>
            <a:r>
              <a:rPr sz="2160" spc="-8" dirty="0">
                <a:solidFill>
                  <a:srgbClr val="0C1524"/>
                </a:solidFill>
              </a:rPr>
              <a:t>and  cultured 100 </a:t>
            </a:r>
            <a:r>
              <a:rPr sz="2160" dirty="0">
                <a:solidFill>
                  <a:srgbClr val="0C1524"/>
                </a:solidFill>
              </a:rPr>
              <a:t>of </a:t>
            </a:r>
            <a:r>
              <a:rPr sz="2160" spc="-8" dirty="0">
                <a:solidFill>
                  <a:srgbClr val="0C1524"/>
                </a:solidFill>
              </a:rPr>
              <a:t>their clean,  reusable</a:t>
            </a:r>
            <a:r>
              <a:rPr sz="2160" spc="-16" dirty="0">
                <a:solidFill>
                  <a:srgbClr val="0C1524"/>
                </a:solidFill>
              </a:rPr>
              <a:t> </a:t>
            </a:r>
            <a:r>
              <a:rPr sz="2160" spc="-8" dirty="0" err="1">
                <a:solidFill>
                  <a:srgbClr val="0C1524"/>
                </a:solidFill>
              </a:rPr>
              <a:t>leadwires</a:t>
            </a:r>
            <a:endParaRPr lang="en-GB" sz="2160" spc="-8" dirty="0">
              <a:solidFill>
                <a:srgbClr val="0C1524"/>
              </a:solidFill>
            </a:endParaRPr>
          </a:p>
          <a:p>
            <a:pPr marL="363726" marR="8128" indent="-344424" algn="just">
              <a:buChar char="•"/>
              <a:tabLst>
                <a:tab pos="364744" algn="l"/>
              </a:tabLst>
            </a:pPr>
            <a:endParaRPr sz="2160" dirty="0"/>
          </a:p>
          <a:p>
            <a:pPr marL="363726" marR="23366" indent="-344424">
              <a:buChar char="•"/>
              <a:tabLst>
                <a:tab pos="363726" algn="l"/>
                <a:tab pos="364744" algn="l"/>
              </a:tabLst>
            </a:pPr>
            <a:r>
              <a:rPr sz="2160" b="1" spc="-8" dirty="0">
                <a:solidFill>
                  <a:srgbClr val="0C1524"/>
                </a:solidFill>
              </a:rPr>
              <a:t>77% </a:t>
            </a:r>
            <a:r>
              <a:rPr sz="2160" b="1" dirty="0">
                <a:solidFill>
                  <a:srgbClr val="0C1524"/>
                </a:solidFill>
              </a:rPr>
              <a:t>of them </a:t>
            </a:r>
            <a:r>
              <a:rPr sz="2160" b="1" spc="-8" dirty="0">
                <a:solidFill>
                  <a:srgbClr val="0C1524"/>
                </a:solidFill>
              </a:rPr>
              <a:t>came back  with </a:t>
            </a:r>
            <a:r>
              <a:rPr sz="2160" b="1" dirty="0">
                <a:solidFill>
                  <a:srgbClr val="0C1524"/>
                </a:solidFill>
              </a:rPr>
              <a:t>at </a:t>
            </a:r>
            <a:r>
              <a:rPr sz="2160" b="1" spc="-8" dirty="0">
                <a:solidFill>
                  <a:srgbClr val="0C1524"/>
                </a:solidFill>
              </a:rPr>
              <a:t>least one </a:t>
            </a:r>
            <a:r>
              <a:rPr sz="2160" b="1" dirty="0">
                <a:solidFill>
                  <a:srgbClr val="0C1524"/>
                </a:solidFill>
              </a:rPr>
              <a:t>form of  antibiotic-resistant</a:t>
            </a:r>
            <a:r>
              <a:rPr sz="2160" b="1" spc="-112" dirty="0">
                <a:solidFill>
                  <a:srgbClr val="0C1524"/>
                </a:solidFill>
              </a:rPr>
              <a:t> </a:t>
            </a:r>
            <a:r>
              <a:rPr sz="2160" b="1" spc="-8" dirty="0">
                <a:solidFill>
                  <a:srgbClr val="0C1524"/>
                </a:solidFill>
              </a:rPr>
              <a:t>bacteria  </a:t>
            </a:r>
            <a:r>
              <a:rPr sz="2160" b="1" dirty="0">
                <a:solidFill>
                  <a:srgbClr val="0C1524"/>
                </a:solidFill>
              </a:rPr>
              <a:t>present, </a:t>
            </a:r>
            <a:r>
              <a:rPr sz="2160" b="1" spc="-8" dirty="0">
                <a:solidFill>
                  <a:srgbClr val="0C1524"/>
                </a:solidFill>
              </a:rPr>
              <a:t>including MRSA</a:t>
            </a:r>
            <a:endParaRPr sz="2160" b="1" dirty="0"/>
          </a:p>
        </p:txBody>
      </p:sp>
      <p:sp>
        <p:nvSpPr>
          <p:cNvPr id="5" name="object 5"/>
          <p:cNvSpPr/>
          <p:nvPr/>
        </p:nvSpPr>
        <p:spPr>
          <a:xfrm>
            <a:off x="7003085" y="6128918"/>
            <a:ext cx="1552042" cy="70591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6" name="object 6"/>
          <p:cNvSpPr/>
          <p:nvPr/>
        </p:nvSpPr>
        <p:spPr>
          <a:xfrm>
            <a:off x="7079082" y="6166306"/>
            <a:ext cx="1400048" cy="553720"/>
          </a:xfrm>
          <a:custGeom>
            <a:avLst/>
            <a:gdLst/>
            <a:ahLst/>
            <a:cxnLst/>
            <a:rect l="l" t="t" r="r" b="b"/>
            <a:pathLst>
              <a:path w="875029" h="346075">
                <a:moveTo>
                  <a:pt x="802386" y="172999"/>
                </a:moveTo>
                <a:lnTo>
                  <a:pt x="760077" y="184925"/>
                </a:lnTo>
                <a:lnTo>
                  <a:pt x="735091" y="221105"/>
                </a:lnTo>
                <a:lnTo>
                  <a:pt x="730250" y="259384"/>
                </a:lnTo>
                <a:lnTo>
                  <a:pt x="731462" y="280054"/>
                </a:lnTo>
                <a:lnTo>
                  <a:pt x="749553" y="324802"/>
                </a:lnTo>
                <a:lnTo>
                  <a:pt x="786880" y="344685"/>
                </a:lnTo>
                <a:lnTo>
                  <a:pt x="803021" y="346011"/>
                </a:lnTo>
                <a:lnTo>
                  <a:pt x="818661" y="344685"/>
                </a:lnTo>
                <a:lnTo>
                  <a:pt x="855345" y="324802"/>
                </a:lnTo>
                <a:lnTo>
                  <a:pt x="864914" y="310070"/>
                </a:lnTo>
                <a:lnTo>
                  <a:pt x="795401" y="310070"/>
                </a:lnTo>
                <a:lnTo>
                  <a:pt x="790194" y="307314"/>
                </a:lnTo>
                <a:lnTo>
                  <a:pt x="779145" y="259168"/>
                </a:lnTo>
                <a:lnTo>
                  <a:pt x="779599" y="244517"/>
                </a:lnTo>
                <a:lnTo>
                  <a:pt x="795147" y="208267"/>
                </a:lnTo>
                <a:lnTo>
                  <a:pt x="864650" y="208267"/>
                </a:lnTo>
                <a:lnTo>
                  <a:pt x="863826" y="206233"/>
                </a:lnTo>
                <a:lnTo>
                  <a:pt x="855345" y="194208"/>
                </a:lnTo>
                <a:lnTo>
                  <a:pt x="844819" y="184925"/>
                </a:lnTo>
                <a:lnTo>
                  <a:pt x="832485" y="178298"/>
                </a:lnTo>
                <a:lnTo>
                  <a:pt x="818340" y="174323"/>
                </a:lnTo>
                <a:lnTo>
                  <a:pt x="802386" y="172999"/>
                </a:lnTo>
                <a:close/>
              </a:path>
              <a:path w="875029" h="346075">
                <a:moveTo>
                  <a:pt x="801877" y="0"/>
                </a:moveTo>
                <a:lnTo>
                  <a:pt x="756793" y="0"/>
                </a:lnTo>
                <a:lnTo>
                  <a:pt x="582422" y="345338"/>
                </a:lnTo>
                <a:lnTo>
                  <a:pt x="628903" y="345338"/>
                </a:lnTo>
                <a:lnTo>
                  <a:pt x="801877" y="0"/>
                </a:lnTo>
                <a:close/>
              </a:path>
              <a:path w="875029" h="346075">
                <a:moveTo>
                  <a:pt x="864650" y="208267"/>
                </a:moveTo>
                <a:lnTo>
                  <a:pt x="808609" y="208267"/>
                </a:lnTo>
                <a:lnTo>
                  <a:pt x="813815" y="210947"/>
                </a:lnTo>
                <a:lnTo>
                  <a:pt x="817499" y="216306"/>
                </a:lnTo>
                <a:lnTo>
                  <a:pt x="820646" y="223085"/>
                </a:lnTo>
                <a:lnTo>
                  <a:pt x="822864" y="232489"/>
                </a:lnTo>
                <a:lnTo>
                  <a:pt x="824178" y="244517"/>
                </a:lnTo>
                <a:lnTo>
                  <a:pt x="824611" y="259168"/>
                </a:lnTo>
                <a:lnTo>
                  <a:pt x="824156" y="273820"/>
                </a:lnTo>
                <a:lnTo>
                  <a:pt x="808609" y="310070"/>
                </a:lnTo>
                <a:lnTo>
                  <a:pt x="864914" y="310070"/>
                </a:lnTo>
                <a:lnTo>
                  <a:pt x="869854" y="297846"/>
                </a:lnTo>
                <a:lnTo>
                  <a:pt x="873454" y="280054"/>
                </a:lnTo>
                <a:lnTo>
                  <a:pt x="874649" y="259384"/>
                </a:lnTo>
                <a:lnTo>
                  <a:pt x="873454" y="238822"/>
                </a:lnTo>
                <a:lnTo>
                  <a:pt x="869854" y="221105"/>
                </a:lnTo>
                <a:lnTo>
                  <a:pt x="864650" y="208267"/>
                </a:lnTo>
                <a:close/>
              </a:path>
              <a:path w="875029" h="346075">
                <a:moveTo>
                  <a:pt x="581151" y="0"/>
                </a:moveTo>
                <a:lnTo>
                  <a:pt x="539253" y="11942"/>
                </a:lnTo>
                <a:lnTo>
                  <a:pt x="514238" y="48093"/>
                </a:lnTo>
                <a:lnTo>
                  <a:pt x="509397" y="86372"/>
                </a:lnTo>
                <a:lnTo>
                  <a:pt x="510609" y="107034"/>
                </a:lnTo>
                <a:lnTo>
                  <a:pt x="528701" y="151676"/>
                </a:lnTo>
                <a:lnTo>
                  <a:pt x="566044" y="171451"/>
                </a:lnTo>
                <a:lnTo>
                  <a:pt x="582168" y="172770"/>
                </a:lnTo>
                <a:lnTo>
                  <a:pt x="597864" y="171446"/>
                </a:lnTo>
                <a:lnTo>
                  <a:pt x="634619" y="151561"/>
                </a:lnTo>
                <a:lnTo>
                  <a:pt x="644144" y="136829"/>
                </a:lnTo>
                <a:lnTo>
                  <a:pt x="574548" y="136829"/>
                </a:lnTo>
                <a:lnTo>
                  <a:pt x="569468" y="134150"/>
                </a:lnTo>
                <a:lnTo>
                  <a:pt x="558291" y="85928"/>
                </a:lnTo>
                <a:lnTo>
                  <a:pt x="558764" y="71283"/>
                </a:lnTo>
                <a:lnTo>
                  <a:pt x="574548" y="35026"/>
                </a:lnTo>
                <a:lnTo>
                  <a:pt x="643839" y="35026"/>
                </a:lnTo>
                <a:lnTo>
                  <a:pt x="643046" y="33071"/>
                </a:lnTo>
                <a:lnTo>
                  <a:pt x="634619" y="21082"/>
                </a:lnTo>
                <a:lnTo>
                  <a:pt x="623996" y="11840"/>
                </a:lnTo>
                <a:lnTo>
                  <a:pt x="611552" y="5254"/>
                </a:lnTo>
                <a:lnTo>
                  <a:pt x="597275" y="1311"/>
                </a:lnTo>
                <a:lnTo>
                  <a:pt x="581151" y="0"/>
                </a:lnTo>
                <a:close/>
              </a:path>
              <a:path w="875029" h="346075">
                <a:moveTo>
                  <a:pt x="643839" y="35026"/>
                </a:moveTo>
                <a:lnTo>
                  <a:pt x="587756" y="35026"/>
                </a:lnTo>
                <a:lnTo>
                  <a:pt x="592963" y="37782"/>
                </a:lnTo>
                <a:lnTo>
                  <a:pt x="596773" y="43294"/>
                </a:lnTo>
                <a:lnTo>
                  <a:pt x="599866" y="49975"/>
                </a:lnTo>
                <a:lnTo>
                  <a:pt x="602091" y="59310"/>
                </a:lnTo>
                <a:lnTo>
                  <a:pt x="603434" y="71296"/>
                </a:lnTo>
                <a:lnTo>
                  <a:pt x="603885" y="85928"/>
                </a:lnTo>
                <a:lnTo>
                  <a:pt x="603434" y="100580"/>
                </a:lnTo>
                <a:lnTo>
                  <a:pt x="587756" y="136829"/>
                </a:lnTo>
                <a:lnTo>
                  <a:pt x="644144" y="136829"/>
                </a:lnTo>
                <a:lnTo>
                  <a:pt x="649081" y="124663"/>
                </a:lnTo>
                <a:lnTo>
                  <a:pt x="652710" y="106941"/>
                </a:lnTo>
                <a:lnTo>
                  <a:pt x="653923" y="86372"/>
                </a:lnTo>
                <a:lnTo>
                  <a:pt x="652710" y="65717"/>
                </a:lnTo>
                <a:lnTo>
                  <a:pt x="649081" y="47950"/>
                </a:lnTo>
                <a:lnTo>
                  <a:pt x="643839" y="35026"/>
                </a:lnTo>
                <a:close/>
              </a:path>
              <a:path w="875029" h="346075">
                <a:moveTo>
                  <a:pt x="469011" y="10033"/>
                </a:moveTo>
                <a:lnTo>
                  <a:pt x="254508" y="10033"/>
                </a:lnTo>
                <a:lnTo>
                  <a:pt x="254508" y="68300"/>
                </a:lnTo>
                <a:lnTo>
                  <a:pt x="397128" y="68300"/>
                </a:lnTo>
                <a:lnTo>
                  <a:pt x="376148" y="97028"/>
                </a:lnTo>
                <a:lnTo>
                  <a:pt x="340854" y="160088"/>
                </a:lnTo>
                <a:lnTo>
                  <a:pt x="314827" y="229528"/>
                </a:lnTo>
                <a:lnTo>
                  <a:pt x="300781" y="298737"/>
                </a:lnTo>
                <a:lnTo>
                  <a:pt x="298450" y="332841"/>
                </a:lnTo>
                <a:lnTo>
                  <a:pt x="359028" y="332841"/>
                </a:lnTo>
                <a:lnTo>
                  <a:pt x="359785" y="310450"/>
                </a:lnTo>
                <a:lnTo>
                  <a:pt x="362410" y="286597"/>
                </a:lnTo>
                <a:lnTo>
                  <a:pt x="373125" y="234505"/>
                </a:lnTo>
                <a:lnTo>
                  <a:pt x="390842" y="181005"/>
                </a:lnTo>
                <a:lnTo>
                  <a:pt x="415036" y="130581"/>
                </a:lnTo>
                <a:lnTo>
                  <a:pt x="442261" y="87387"/>
                </a:lnTo>
                <a:lnTo>
                  <a:pt x="469011" y="55575"/>
                </a:lnTo>
                <a:lnTo>
                  <a:pt x="469011" y="10033"/>
                </a:lnTo>
                <a:close/>
              </a:path>
              <a:path w="875029" h="346075">
                <a:moveTo>
                  <a:pt x="214502" y="10033"/>
                </a:moveTo>
                <a:lnTo>
                  <a:pt x="0" y="10033"/>
                </a:lnTo>
                <a:lnTo>
                  <a:pt x="0" y="68300"/>
                </a:lnTo>
                <a:lnTo>
                  <a:pt x="142621" y="68300"/>
                </a:lnTo>
                <a:lnTo>
                  <a:pt x="121640" y="97028"/>
                </a:lnTo>
                <a:lnTo>
                  <a:pt x="86346" y="160088"/>
                </a:lnTo>
                <a:lnTo>
                  <a:pt x="60319" y="229528"/>
                </a:lnTo>
                <a:lnTo>
                  <a:pt x="46273" y="298737"/>
                </a:lnTo>
                <a:lnTo>
                  <a:pt x="43941" y="332841"/>
                </a:lnTo>
                <a:lnTo>
                  <a:pt x="104521" y="332841"/>
                </a:lnTo>
                <a:lnTo>
                  <a:pt x="105277" y="310450"/>
                </a:lnTo>
                <a:lnTo>
                  <a:pt x="107902" y="286597"/>
                </a:lnTo>
                <a:lnTo>
                  <a:pt x="118618" y="234505"/>
                </a:lnTo>
                <a:lnTo>
                  <a:pt x="136334" y="181005"/>
                </a:lnTo>
                <a:lnTo>
                  <a:pt x="160527" y="130581"/>
                </a:lnTo>
                <a:lnTo>
                  <a:pt x="187753" y="87387"/>
                </a:lnTo>
                <a:lnTo>
                  <a:pt x="214502" y="55575"/>
                </a:lnTo>
                <a:lnTo>
                  <a:pt x="214502" y="10033"/>
                </a:lnTo>
                <a:close/>
              </a:path>
            </a:pathLst>
          </a:custGeom>
          <a:solidFill>
            <a:srgbClr val="FFEFE7"/>
          </a:solid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7" name="object 7"/>
          <p:cNvSpPr/>
          <p:nvPr/>
        </p:nvSpPr>
        <p:spPr>
          <a:xfrm>
            <a:off x="7054087" y="6141414"/>
            <a:ext cx="1449426" cy="60350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8" name="object 8"/>
          <p:cNvSpPr txBox="1"/>
          <p:nvPr/>
        </p:nvSpPr>
        <p:spPr>
          <a:xfrm>
            <a:off x="1954783" y="7183934"/>
            <a:ext cx="4609592" cy="131318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20320">
              <a:spcBef>
                <a:spcPts val="160"/>
              </a:spcBef>
            </a:pPr>
            <a:r>
              <a:rPr sz="720" b="1" dirty="0">
                <a:solidFill>
                  <a:srgbClr val="0C1524"/>
                </a:solidFill>
              </a:rPr>
              <a:t>1. </a:t>
            </a:r>
            <a:r>
              <a:rPr sz="720" dirty="0">
                <a:solidFill>
                  <a:srgbClr val="0C1524"/>
                </a:solidFill>
              </a:rPr>
              <a:t>Jancin, B. Antibiotic resistant pathogens found </a:t>
            </a:r>
            <a:r>
              <a:rPr sz="720" spc="-8" dirty="0">
                <a:solidFill>
                  <a:srgbClr val="0C1524"/>
                </a:solidFill>
              </a:rPr>
              <a:t>on 77% </a:t>
            </a:r>
            <a:r>
              <a:rPr sz="720" dirty="0">
                <a:solidFill>
                  <a:srgbClr val="0C1524"/>
                </a:solidFill>
              </a:rPr>
              <a:t>of ECG </a:t>
            </a:r>
            <a:r>
              <a:rPr sz="720" spc="-8" dirty="0">
                <a:solidFill>
                  <a:srgbClr val="0C1524"/>
                </a:solidFill>
              </a:rPr>
              <a:t>lead wires. </a:t>
            </a:r>
            <a:r>
              <a:rPr sz="720" i="1" spc="-8" dirty="0">
                <a:solidFill>
                  <a:srgbClr val="0C1524"/>
                </a:solidFill>
              </a:rPr>
              <a:t>Cardiol </a:t>
            </a:r>
            <a:r>
              <a:rPr sz="720" i="1" dirty="0">
                <a:solidFill>
                  <a:srgbClr val="0C1524"/>
                </a:solidFill>
              </a:rPr>
              <a:t>News, </a:t>
            </a:r>
            <a:r>
              <a:rPr sz="720" spc="-8" dirty="0">
                <a:solidFill>
                  <a:srgbClr val="0C1524"/>
                </a:solidFill>
              </a:rPr>
              <a:t>March </a:t>
            </a:r>
            <a:r>
              <a:rPr sz="720" dirty="0">
                <a:solidFill>
                  <a:srgbClr val="0C1524"/>
                </a:solidFill>
              </a:rPr>
              <a:t>2004,</a:t>
            </a:r>
            <a:r>
              <a:rPr sz="720" spc="-120" dirty="0">
                <a:solidFill>
                  <a:srgbClr val="0C1524"/>
                </a:solidFill>
              </a:rPr>
              <a:t> </a:t>
            </a:r>
            <a:r>
              <a:rPr sz="720" dirty="0">
                <a:solidFill>
                  <a:srgbClr val="0C1524"/>
                </a:solidFill>
              </a:rPr>
              <a:t>2(3):14.</a:t>
            </a:r>
            <a:endParaRPr sz="720"/>
          </a:p>
        </p:txBody>
      </p:sp>
      <p:sp>
        <p:nvSpPr>
          <p:cNvPr id="9" name="object 9"/>
          <p:cNvSpPr txBox="1"/>
          <p:nvPr/>
        </p:nvSpPr>
        <p:spPr>
          <a:xfrm>
            <a:off x="8484818" y="7637661"/>
            <a:ext cx="3445256" cy="247247"/>
          </a:xfrm>
          <a:prstGeom prst="rect">
            <a:avLst/>
          </a:prstGeom>
        </p:spPr>
        <p:txBody>
          <a:bodyPr vert="horz" wrap="square" lIns="0" tIns="1016" rIns="0" bIns="0" rtlCol="0">
            <a:spAutoFit/>
          </a:bodyPr>
          <a:lstStyle/>
          <a:p>
            <a:pPr marL="20320">
              <a:spcBef>
                <a:spcPts val="8"/>
              </a:spcBef>
            </a:pPr>
            <a:r>
              <a:rPr sz="1600" b="1" dirty="0">
                <a:solidFill>
                  <a:srgbClr val="F1F1F1"/>
                </a:solidFill>
              </a:rPr>
              <a:t>CONFIDENTIAL – Internal Use</a:t>
            </a:r>
            <a:r>
              <a:rPr sz="1600" b="1" spc="-216" dirty="0">
                <a:solidFill>
                  <a:srgbClr val="F1F1F1"/>
                </a:solidFill>
              </a:rPr>
              <a:t> </a:t>
            </a:r>
            <a:r>
              <a:rPr sz="1600" b="1" dirty="0">
                <a:solidFill>
                  <a:srgbClr val="F1F1F1"/>
                </a:solidFill>
              </a:rPr>
              <a:t>Only</a:t>
            </a:r>
            <a:endParaRPr sz="1600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322932" y="6900960"/>
            <a:ext cx="10148312" cy="6832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60" dirty="0"/>
              <a:t>1. Brown, Donna Q. Disposable vs reusable electrocardiography leads in development of and cross-contamination by resistant bacteria. </a:t>
            </a:r>
            <a:r>
              <a:rPr lang="en-US" sz="960" dirty="0" err="1"/>
              <a:t>Crit</a:t>
            </a:r>
            <a:r>
              <a:rPr lang="en-US" sz="960" dirty="0"/>
              <a:t> Care Nurse. 2011 Jun;31(3):62-8.</a:t>
            </a:r>
          </a:p>
          <a:p>
            <a:r>
              <a:rPr lang="en-US" sz="960" dirty="0"/>
              <a:t>2. 8 Barnett, T.E. (2007). “The Not-So-Hidden Costs of Surgical Infections.” AORN Journal: Vol. 86, No. 2; 249-258.</a:t>
            </a:r>
          </a:p>
          <a:p>
            <a:r>
              <a:rPr lang="en-US" sz="960" dirty="0"/>
              <a:t>3. Albert, NM et al (2013). “Randomized Controlled Trial of Differences in Artifact/Noise Alarm Events in Disposable versus Reusable ECG Lead Wires.” AACN, NTI &amp; </a:t>
            </a:r>
            <a:r>
              <a:rPr lang="en-US" sz="960" dirty="0" err="1"/>
              <a:t>Cricital</a:t>
            </a:r>
            <a:r>
              <a:rPr lang="en-US" sz="960" dirty="0"/>
              <a:t> Care Expo, Boston, MA 2013.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terature review (SPU)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241043" y="1461668"/>
            <a:ext cx="10148314" cy="5431156"/>
          </a:xfrm>
        </p:spPr>
        <p:txBody>
          <a:bodyPr>
            <a:normAutofit/>
          </a:bodyPr>
          <a:lstStyle/>
          <a:p>
            <a:pPr>
              <a:spcBef>
                <a:spcPts val="1440"/>
              </a:spcBef>
              <a:spcAft>
                <a:spcPts val="1440"/>
              </a:spcAft>
            </a:pPr>
            <a:r>
              <a:rPr lang="en-US" sz="2400" dirty="0"/>
              <a:t>St. Anthony’s Medical Center in St Petersburg, FL, reported a </a:t>
            </a:r>
            <a:r>
              <a:rPr lang="en-US" sz="2400" b="1" dirty="0"/>
              <a:t>70% decrease in combined MRSA, VRE, and other HAIs when disposable ECG wires were added </a:t>
            </a:r>
            <a:r>
              <a:rPr lang="en-US" sz="2400" dirty="0"/>
              <a:t>to the hospital’s infection control bundle.</a:t>
            </a:r>
            <a:r>
              <a:rPr lang="en-US" sz="2400" baseline="30000" dirty="0"/>
              <a:t>1</a:t>
            </a:r>
          </a:p>
          <a:p>
            <a:pPr>
              <a:spcBef>
                <a:spcPts val="1440"/>
              </a:spcBef>
              <a:spcAft>
                <a:spcPts val="1440"/>
              </a:spcAft>
            </a:pPr>
            <a:r>
              <a:rPr lang="en-US" sz="2400" dirty="0"/>
              <a:t>At Bon Secours St Francis in Virginia, a </a:t>
            </a:r>
            <a:r>
              <a:rPr lang="en-US" sz="2400" b="1" dirty="0"/>
              <a:t>23-month zero infection rate was achieved when use of disposable ECG leads </a:t>
            </a:r>
            <a:r>
              <a:rPr lang="en-US" sz="2400" dirty="0"/>
              <a:t>was added to the infection control bundle in telemetry &amp; ICU. Subsequently, surgical site infections decreased 40%.</a:t>
            </a:r>
            <a:r>
              <a:rPr lang="en-US" sz="2400" baseline="30000" dirty="0"/>
              <a:t>1</a:t>
            </a:r>
          </a:p>
          <a:p>
            <a:pPr>
              <a:spcBef>
                <a:spcPts val="1440"/>
              </a:spcBef>
              <a:spcAft>
                <a:spcPts val="1440"/>
              </a:spcAft>
            </a:pPr>
            <a:r>
              <a:rPr lang="en-US" sz="2400" dirty="0"/>
              <a:t>To reduce wound infections, three hospitals began using disposable ECG lead wires in their ICUs. </a:t>
            </a:r>
            <a:r>
              <a:rPr lang="en-US" sz="2400" b="1" dirty="0"/>
              <a:t>In all three hospitals, the frequency of infections decreased by 90+%.</a:t>
            </a:r>
            <a:r>
              <a:rPr lang="en-US" sz="2400" b="1" baseline="30000" dirty="0"/>
              <a:t>2</a:t>
            </a:r>
          </a:p>
          <a:p>
            <a:pPr>
              <a:spcBef>
                <a:spcPts val="1440"/>
              </a:spcBef>
              <a:spcAft>
                <a:spcPts val="1440"/>
              </a:spcAft>
            </a:pPr>
            <a:r>
              <a:rPr lang="en-US" sz="2400" dirty="0"/>
              <a:t>Recent study suggests there may be positive link between false alarm reduction and use of disposable leadwires.</a:t>
            </a:r>
            <a:r>
              <a:rPr lang="en-US" sz="2400" baseline="30000" dirty="0"/>
              <a:t>3</a:t>
            </a: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838478" y="7759337"/>
            <a:ext cx="5392348" cy="275082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8154350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5394960" y="7863840"/>
            <a:ext cx="4023360" cy="2585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80" dirty="0"/>
              <a:t>Picture source: http://checkonjim.com/?p=386</a:t>
            </a:r>
          </a:p>
        </p:txBody>
      </p:sp>
      <p:pic>
        <p:nvPicPr>
          <p:cNvPr id="3" name="Content Placeholder 2"/>
          <p:cNvPicPr>
            <a:picLocks noGrp="1" noChangeAspect="1"/>
          </p:cNvPicPr>
          <p:nvPr>
            <p:ph idx="1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2319" y="1920240"/>
            <a:ext cx="5465762" cy="493776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9" name="Rectangle 2"/>
          <p:cNvSpPr txBox="1">
            <a:spLocks noChangeArrowheads="1"/>
          </p:cNvSpPr>
          <p:nvPr/>
        </p:nvSpPr>
        <p:spPr>
          <a:xfrm>
            <a:off x="2377440" y="512446"/>
            <a:ext cx="9875520" cy="950594"/>
          </a:xfrm>
          <a:prstGeom prst="rect">
            <a:avLst/>
          </a:prstGeom>
        </p:spPr>
        <p:txBody>
          <a:bodyPr vert="horz" lIns="109728" tIns="54864" rIns="109728" bIns="54864" rtlCol="0" anchor="b" anchorCtr="0">
            <a:normAutofit fontScale="925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000" kern="1200" cap="all" spc="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>
              <a:defRPr/>
            </a:pPr>
            <a:r>
              <a:rPr lang="en-US" sz="4800" cap="none" dirty="0">
                <a:solidFill>
                  <a:srgbClr val="FF0000"/>
                </a:solidFill>
                <a:latin typeface="Calibri" panose="020F0502020204030204" pitchFamily="34" charset="0"/>
              </a:rPr>
              <a:t>The contact environment of ECG wires:</a:t>
            </a:r>
            <a:endParaRPr lang="en-US" sz="5760" cap="none" dirty="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07569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4023360" y="7863840"/>
            <a:ext cx="7132320" cy="2585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80" dirty="0"/>
              <a:t>Picture Source: http://forum.bodybuilding.com/showthread.php?t=126585773&amp;page=1</a:t>
            </a:r>
          </a:p>
        </p:txBody>
      </p:sp>
      <p:pic>
        <p:nvPicPr>
          <p:cNvPr id="3" name="Content Placeholder 2"/>
          <p:cNvPicPr>
            <a:picLocks noGrp="1" noChangeAspect="1"/>
          </p:cNvPicPr>
          <p:nvPr>
            <p:ph idx="1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840480" y="1590501"/>
            <a:ext cx="6492240" cy="585285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8" name="Rectangle 2"/>
          <p:cNvSpPr txBox="1">
            <a:spLocks noChangeArrowheads="1"/>
          </p:cNvSpPr>
          <p:nvPr/>
        </p:nvSpPr>
        <p:spPr>
          <a:xfrm>
            <a:off x="2377440" y="512446"/>
            <a:ext cx="9875520" cy="950594"/>
          </a:xfrm>
          <a:prstGeom prst="rect">
            <a:avLst/>
          </a:prstGeom>
        </p:spPr>
        <p:txBody>
          <a:bodyPr vert="horz" lIns="109728" tIns="54864" rIns="109728" bIns="54864" rtlCol="0" anchor="b" anchorCtr="0">
            <a:normAutofit fontScale="925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000" kern="1200" cap="all" spc="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>
              <a:defRPr/>
            </a:pPr>
            <a:r>
              <a:rPr lang="en-US" sz="4800" cap="none" dirty="0">
                <a:solidFill>
                  <a:srgbClr val="FF0000"/>
                </a:solidFill>
                <a:latin typeface="Calibri" panose="020F0502020204030204" pitchFamily="34" charset="0"/>
              </a:rPr>
              <a:t>The contact environment of ECG wires:</a:t>
            </a:r>
            <a:endParaRPr lang="en-US" sz="5760" cap="none" dirty="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292025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200401" y="2286000"/>
            <a:ext cx="7648844" cy="448056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6" name="Rectangle 5"/>
          <p:cNvSpPr/>
          <p:nvPr/>
        </p:nvSpPr>
        <p:spPr>
          <a:xfrm>
            <a:off x="4480560" y="7863840"/>
            <a:ext cx="7223760" cy="2585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80" dirty="0"/>
              <a:t>Picture Source: http://kempkuties.blogspot.com/2009_01_01_archive.html</a:t>
            </a: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>
          <a:xfrm>
            <a:off x="2377440" y="512446"/>
            <a:ext cx="9875520" cy="950594"/>
          </a:xfrm>
          <a:prstGeom prst="rect">
            <a:avLst/>
          </a:prstGeom>
        </p:spPr>
        <p:txBody>
          <a:bodyPr vert="horz" lIns="109728" tIns="54864" rIns="109728" bIns="54864" rtlCol="0" anchor="b" anchorCtr="0">
            <a:normAutofit fontScale="925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000" kern="1200" cap="all" spc="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>
              <a:defRPr/>
            </a:pPr>
            <a:r>
              <a:rPr lang="en-US" sz="4800" cap="none" dirty="0">
                <a:solidFill>
                  <a:srgbClr val="FF0000"/>
                </a:solidFill>
                <a:latin typeface="Calibri" panose="020F0502020204030204" pitchFamily="34" charset="0"/>
              </a:rPr>
              <a:t>The contact environment of ECG wires:</a:t>
            </a:r>
            <a:endParaRPr lang="en-US" sz="5760" cap="none" dirty="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238857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9040" y="2072640"/>
            <a:ext cx="6995160" cy="4419600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/>
        </p:nvSpPr>
        <p:spPr>
          <a:xfrm>
            <a:off x="4572000" y="6871007"/>
            <a:ext cx="54864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>
                <a:latin typeface="Calibri" pitchFamily="34" charset="0"/>
              </a:rPr>
              <a:t>Brown D, Disposable </a:t>
            </a:r>
            <a:r>
              <a:rPr lang="en-US" sz="1200" dirty="0" err="1">
                <a:latin typeface="Calibri" pitchFamily="34" charset="0"/>
              </a:rPr>
              <a:t>vs</a:t>
            </a:r>
            <a:r>
              <a:rPr lang="en-US" sz="1200" dirty="0">
                <a:latin typeface="Calibri" pitchFamily="34" charset="0"/>
              </a:rPr>
              <a:t>  Reusable Electrocardiography Leads in Development of and Cross-contamination by Resistant Bacteria </a:t>
            </a:r>
            <a:r>
              <a:rPr lang="en-US" sz="1200" i="1" dirty="0">
                <a:latin typeface="Calibri" pitchFamily="34" charset="0"/>
              </a:rPr>
              <a:t>Critical Care Nurse </a:t>
            </a:r>
            <a:r>
              <a:rPr lang="en-US" sz="1200" dirty="0">
                <a:latin typeface="Calibri" pitchFamily="34" charset="0"/>
              </a:rPr>
              <a:t>June 2012 </a:t>
            </a: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>
          <a:xfrm>
            <a:off x="2377440" y="512446"/>
            <a:ext cx="9875520" cy="950594"/>
          </a:xfrm>
          <a:prstGeom prst="rect">
            <a:avLst/>
          </a:prstGeom>
        </p:spPr>
        <p:txBody>
          <a:bodyPr vert="horz" lIns="109728" tIns="54864" rIns="109728" bIns="54864" rtlCol="0" anchor="b" anchorCtr="0">
            <a:normAutofit fontScale="925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000" kern="1200" cap="all" spc="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>
              <a:defRPr/>
            </a:pPr>
            <a:r>
              <a:rPr lang="en-US" sz="4800" cap="none" dirty="0">
                <a:solidFill>
                  <a:srgbClr val="FF0000"/>
                </a:solidFill>
                <a:latin typeface="Calibri" panose="020F0502020204030204" pitchFamily="34" charset="0"/>
              </a:rPr>
              <a:t>The contact environment of ECG wires:</a:t>
            </a:r>
            <a:endParaRPr lang="en-US" sz="5760" cap="none" dirty="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13098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888436" y="7672335"/>
            <a:ext cx="4810760" cy="220060"/>
          </a:xfrm>
          <a:prstGeom prst="rect">
            <a:avLst/>
          </a:prstGeom>
        </p:spPr>
        <p:txBody>
          <a:bodyPr vert="horz" wrap="square" lIns="0" tIns="27432" rIns="0" bIns="0" rtlCol="0">
            <a:spAutoFit/>
          </a:bodyPr>
          <a:lstStyle/>
          <a:p>
            <a:pPr>
              <a:lnSpc>
                <a:spcPts val="1480"/>
              </a:lnSpc>
              <a:spcBef>
                <a:spcPts val="216"/>
              </a:spcBef>
              <a:tabLst>
                <a:tab pos="2490216" algn="l"/>
              </a:tabLst>
            </a:pPr>
            <a:r>
              <a:rPr sz="1920" spc="35" baseline="6944" dirty="0">
                <a:solidFill>
                  <a:srgbClr val="0C1524"/>
                </a:solidFill>
                <a:latin typeface="Verdana"/>
                <a:cs typeface="Verdana"/>
              </a:rPr>
              <a:t>84	</a:t>
            </a:r>
            <a:r>
              <a:rPr sz="960" spc="-8" dirty="0">
                <a:solidFill>
                  <a:srgbClr val="F58023"/>
                </a:solidFill>
                <a:latin typeface="Verdana"/>
                <a:cs typeface="Verdana"/>
              </a:rPr>
              <a:t>CONFIDENTIAL </a:t>
            </a:r>
            <a:r>
              <a:rPr sz="960" dirty="0">
                <a:solidFill>
                  <a:srgbClr val="F58023"/>
                </a:solidFill>
                <a:latin typeface="Verdana"/>
                <a:cs typeface="Verdana"/>
              </a:rPr>
              <a:t>– for </a:t>
            </a:r>
            <a:r>
              <a:rPr sz="960" spc="-16" dirty="0">
                <a:solidFill>
                  <a:srgbClr val="F58023"/>
                </a:solidFill>
                <a:latin typeface="Verdana"/>
                <a:cs typeface="Verdana"/>
              </a:rPr>
              <a:t>internal </a:t>
            </a:r>
            <a:r>
              <a:rPr sz="960" spc="-8" dirty="0">
                <a:solidFill>
                  <a:srgbClr val="F58023"/>
                </a:solidFill>
                <a:latin typeface="Verdana"/>
                <a:cs typeface="Verdana"/>
              </a:rPr>
              <a:t>use</a:t>
            </a:r>
            <a:r>
              <a:rPr sz="960" dirty="0">
                <a:solidFill>
                  <a:srgbClr val="F58023"/>
                </a:solidFill>
                <a:latin typeface="Verdana"/>
                <a:cs typeface="Verdana"/>
              </a:rPr>
              <a:t> </a:t>
            </a:r>
            <a:r>
              <a:rPr sz="960" spc="-16" dirty="0">
                <a:solidFill>
                  <a:srgbClr val="F58023"/>
                </a:solidFill>
                <a:latin typeface="Verdana"/>
                <a:cs typeface="Verdana"/>
              </a:rPr>
              <a:t>only</a:t>
            </a:r>
            <a:endParaRPr sz="960">
              <a:latin typeface="Verdana"/>
              <a:cs typeface="Verdana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0" y="0"/>
            <a:ext cx="14630400" cy="822959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4" name="object 4"/>
          <p:cNvSpPr txBox="1"/>
          <p:nvPr/>
        </p:nvSpPr>
        <p:spPr>
          <a:xfrm>
            <a:off x="1789379" y="1407768"/>
            <a:ext cx="10646462" cy="1017715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20320">
              <a:spcBef>
                <a:spcPts val="160"/>
              </a:spcBef>
            </a:pPr>
            <a:r>
              <a:rPr lang="en-GB" sz="6480" b="1" spc="-8" dirty="0">
                <a:solidFill>
                  <a:srgbClr val="0C1524"/>
                </a:solidFill>
                <a:latin typeface="Verdana"/>
                <a:cs typeface="Verdana"/>
              </a:rPr>
              <a:t>Cardiology</a:t>
            </a:r>
            <a:endParaRPr sz="6480" dirty="0">
              <a:latin typeface="Verdana"/>
              <a:cs typeface="Verdana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3383280" y="3108960"/>
            <a:ext cx="9052560" cy="424816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 Narrow"/>
                <a:ea typeface="Arial Narrow" pitchFamily="34" charset="0"/>
                <a:cs typeface="Arial Narrow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 Narrow" pitchFamily="34" charset="0"/>
                <a:ea typeface="Arial Narrow" pitchFamily="34" charset="0"/>
                <a:cs typeface="Arial Narrow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 Narrow" pitchFamily="34" charset="0"/>
                <a:ea typeface="Arial Narrow" pitchFamily="34" charset="0"/>
                <a:cs typeface="Arial Narrow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 Narrow" pitchFamily="34" charset="0"/>
                <a:ea typeface="Arial Narrow" pitchFamily="34" charset="0"/>
                <a:cs typeface="Arial Narrow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 Narrow" pitchFamily="34" charset="0"/>
                <a:ea typeface="Arial Narrow" pitchFamily="34" charset="0"/>
                <a:cs typeface="Arial Narrow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 Narrow" pitchFamily="34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 Narrow" pitchFamily="34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 Narrow" pitchFamily="34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r>
              <a:rPr lang="en-US" sz="4800" dirty="0">
                <a:solidFill>
                  <a:schemeClr val="bg1"/>
                </a:solidFill>
              </a:rPr>
              <a:t>Professional Organizations and Publication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7560" y="1535776"/>
            <a:ext cx="7772400" cy="515804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" name="Rectangle 1"/>
          <p:cNvSpPr/>
          <p:nvPr/>
        </p:nvSpPr>
        <p:spPr>
          <a:xfrm>
            <a:off x="4658360" y="7155282"/>
            <a:ext cx="5760720" cy="2862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60" dirty="0"/>
              <a:t>Picture Source: http://lifeinthefastlane.com/trauma-tribulation-005/</a:t>
            </a:r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2560320" y="548641"/>
            <a:ext cx="9326880" cy="914401"/>
          </a:xfrm>
          <a:prstGeom prst="rect">
            <a:avLst/>
          </a:prstGeom>
        </p:spPr>
        <p:txBody>
          <a:bodyPr>
            <a:noAutofit/>
          </a:bodyPr>
          <a:lstStyle>
            <a:lvl1pPr marL="274320" indent="-27432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Char char=""/>
              <a:defRPr sz="24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76263" indent="-27432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Char char=""/>
              <a:defRPr sz="22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855663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Char char=""/>
              <a:defRPr sz="20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1430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Char char=""/>
              <a:defRPr sz="18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46304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Char char=""/>
              <a:defRPr sz="16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178308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10312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42316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74320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840" dirty="0">
                <a:solidFill>
                  <a:srgbClr val="FF0000"/>
                </a:solidFill>
              </a:rPr>
              <a:t>The Contact environment of ECG wires</a:t>
            </a:r>
          </a:p>
          <a:p>
            <a:pPr algn="ctr"/>
            <a:endParaRPr lang="en-US" sz="3840" dirty="0">
              <a:solidFill>
                <a:srgbClr val="FF0000"/>
              </a:solidFill>
            </a:endParaRPr>
          </a:p>
          <a:p>
            <a:pPr algn="ctr"/>
            <a:endParaRPr lang="en-US" sz="384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44678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2"/>
          <p:cNvSpPr>
            <a:spLocks noGrp="1" noChangeArrowheads="1"/>
          </p:cNvSpPr>
          <p:nvPr>
            <p:ph type="title"/>
          </p:nvPr>
        </p:nvSpPr>
        <p:spPr>
          <a:xfrm>
            <a:off x="292100" y="448370"/>
            <a:ext cx="13931899" cy="1111567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en-US" sz="3360" dirty="0">
                <a:solidFill>
                  <a:srgbClr val="FF0000"/>
                </a:solidFill>
              </a:rPr>
              <a:t>ECG leads carrying bacteria coming in contact with open wounds constitute a cross-contamination pathway</a:t>
            </a:r>
            <a:endParaRPr lang="en-US" sz="3840" dirty="0">
              <a:solidFill>
                <a:srgbClr val="FF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half" idx="1"/>
          </p:nvPr>
        </p:nvSpPr>
        <p:spPr>
          <a:xfrm>
            <a:off x="292100" y="2288506"/>
            <a:ext cx="6291580" cy="2649254"/>
          </a:xfrm>
        </p:spPr>
        <p:txBody>
          <a:bodyPr>
            <a:noAutofit/>
          </a:bodyPr>
          <a:lstStyle/>
          <a:p>
            <a:r>
              <a:rPr lang="en-US" sz="2160" dirty="0"/>
              <a:t>Disinfectants need to come into contact with bacteria for sufficient  time and in sufficient strength to eliminate the bacteria</a:t>
            </a:r>
          </a:p>
          <a:p>
            <a:r>
              <a:rPr lang="en-US" sz="2160" dirty="0"/>
              <a:t>Are ECG wires 100% disinfected, 100% of the time?</a:t>
            </a:r>
          </a:p>
          <a:p>
            <a:endParaRPr lang="en-US" sz="2160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2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9753" y="1925697"/>
            <a:ext cx="5453207" cy="4991992"/>
          </a:xfrm>
          <a:ln>
            <a:solidFill>
              <a:schemeClr val="accent1"/>
            </a:solidFill>
          </a:ln>
        </p:spPr>
      </p:pic>
      <p:sp>
        <p:nvSpPr>
          <p:cNvPr id="14" name="Rectangle 3"/>
          <p:cNvSpPr txBox="1">
            <a:spLocks noChangeArrowheads="1"/>
          </p:cNvSpPr>
          <p:nvPr/>
        </p:nvSpPr>
        <p:spPr>
          <a:xfrm>
            <a:off x="2188297" y="3474720"/>
            <a:ext cx="5029200" cy="4937760"/>
          </a:xfrm>
          <a:prstGeom prst="rect">
            <a:avLst/>
          </a:prstGeom>
        </p:spPr>
        <p:txBody>
          <a:bodyPr vert="horz" lIns="109728" tIns="54864" rIns="109728" bIns="54864" rtlCol="0">
            <a:normAutofit/>
          </a:bodyPr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endParaRPr lang="en-US" sz="2400" b="1" dirty="0"/>
          </a:p>
        </p:txBody>
      </p:sp>
      <p:sp>
        <p:nvSpPr>
          <p:cNvPr id="7" name="Rectangle 6"/>
          <p:cNvSpPr/>
          <p:nvPr/>
        </p:nvSpPr>
        <p:spPr>
          <a:xfrm>
            <a:off x="292100" y="7283449"/>
            <a:ext cx="14147799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80" dirty="0"/>
              <a:t>Picture Sources: http://www.plasticsurg.com/burn/pulmonary/page_18a.jpg</a:t>
            </a:r>
          </a:p>
          <a:p>
            <a:r>
              <a:rPr lang="en-US" sz="1080" dirty="0"/>
              <a:t>   http://216.92.122.69/Modules/initial_mgmt/sec_3.htm http://pilldoctor.blogspot.com/2010/09/incredible-inflatable-man.html </a:t>
            </a:r>
          </a:p>
        </p:txBody>
      </p:sp>
      <p:pic>
        <p:nvPicPr>
          <p:cNvPr id="174098" name="Picture 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7520" y="4634865"/>
            <a:ext cx="2600326" cy="2223136"/>
          </a:xfrm>
          <a:prstGeom prst="rect">
            <a:avLst/>
          </a:prstGeom>
          <a:noFill/>
          <a:ln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067284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27"/>
          <p:cNvSpPr txBox="1">
            <a:spLocks noChangeArrowheads="1"/>
          </p:cNvSpPr>
          <p:nvPr/>
        </p:nvSpPr>
        <p:spPr bwMode="auto">
          <a:xfrm>
            <a:off x="7605470" y="3118486"/>
            <a:ext cx="3321610" cy="424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3200">
                <a:solidFill>
                  <a:schemeClr val="tx1"/>
                </a:solidFill>
                <a:latin typeface="GE Inspira Pitch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GE Inspira Pitch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GE Inspira Pitch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GE Inspira Pitch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GE Inspira Pitch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GE Inspira Pitch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GE Inspira Pitch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GE Inspira Pitch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GE Inspira Pitch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fi-FI" sz="2160"/>
          </a:p>
        </p:txBody>
      </p:sp>
      <p:graphicFrame>
        <p:nvGraphicFramePr>
          <p:cNvPr id="2" name="Table 1"/>
          <p:cNvGraphicFramePr>
            <a:graphicFrameLocks noGrp="1"/>
          </p:cNvGraphicFramePr>
          <p:nvPr/>
        </p:nvGraphicFramePr>
        <p:xfrm>
          <a:off x="2220624" y="1899621"/>
          <a:ext cx="10187918" cy="4516101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50939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09395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71361">
                <a:tc>
                  <a:txBody>
                    <a:bodyPr/>
                    <a:lstStyle/>
                    <a:p>
                      <a:pPr algn="ctr"/>
                      <a:r>
                        <a:rPr lang="en-US" sz="1700" dirty="0"/>
                        <a:t>Reusable ECG Leadwires</a:t>
                      </a:r>
                    </a:p>
                  </a:txBody>
                  <a:tcPr marL="109728" marR="109728" marT="54864" marB="54864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/>
                        <a:t>Single Patient</a:t>
                      </a:r>
                      <a:r>
                        <a:rPr lang="en-US" sz="1700" baseline="0" dirty="0"/>
                        <a:t> Use Leadwires</a:t>
                      </a:r>
                      <a:endParaRPr lang="en-US" sz="1700" dirty="0"/>
                    </a:p>
                  </a:txBody>
                  <a:tcPr marL="109728" marR="109728" marT="54864" marB="54864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86185">
                <a:tc>
                  <a:txBody>
                    <a:bodyPr/>
                    <a:lstStyle/>
                    <a:p>
                      <a:pPr algn="ctr"/>
                      <a:r>
                        <a:rPr lang="en-US" sz="1700" dirty="0"/>
                        <a:t>Cross-contamination</a:t>
                      </a:r>
                      <a:r>
                        <a:rPr lang="en-US" sz="1700" baseline="0" dirty="0"/>
                        <a:t> challenge in inpatient and outpatient care areas (multiple patient use)</a:t>
                      </a:r>
                      <a:endParaRPr lang="en-US" sz="1700" dirty="0"/>
                    </a:p>
                  </a:txBody>
                  <a:tcPr marL="109728" marR="109728" marT="54864" marB="5486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/>
                        <a:t>Disposable Product: Admission</a:t>
                      </a:r>
                      <a:r>
                        <a:rPr lang="en-US" sz="1700" baseline="0" dirty="0"/>
                        <a:t> to discharge single patient use</a:t>
                      </a:r>
                      <a:endParaRPr lang="en-US" sz="1700" dirty="0"/>
                    </a:p>
                  </a:txBody>
                  <a:tcPr marL="109728" marR="109728" marT="54864" marB="54864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86185">
                <a:tc>
                  <a:txBody>
                    <a:bodyPr/>
                    <a:lstStyle/>
                    <a:p>
                      <a:pPr algn="ctr"/>
                      <a:r>
                        <a:rPr lang="en-US" sz="1700" dirty="0"/>
                        <a:t>Need to clean before re-use</a:t>
                      </a:r>
                    </a:p>
                  </a:txBody>
                  <a:tcPr marL="109728" marR="109728" marT="54864" marB="5486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/>
                        <a:t>No cleaning procedure</a:t>
                      </a:r>
                    </a:p>
                    <a:p>
                      <a:pPr algn="ctr"/>
                      <a:r>
                        <a:rPr lang="en-US" sz="1700" dirty="0"/>
                        <a:t>Leadwire disposed</a:t>
                      </a:r>
                      <a:r>
                        <a:rPr lang="en-US" sz="1700" baseline="0" dirty="0"/>
                        <a:t> at discharge</a:t>
                      </a:r>
                      <a:endParaRPr lang="en-US" sz="1700" dirty="0"/>
                    </a:p>
                  </a:txBody>
                  <a:tcPr marL="109728" marR="109728" marT="54864" marB="54864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86185">
                <a:tc>
                  <a:txBody>
                    <a:bodyPr/>
                    <a:lstStyle/>
                    <a:p>
                      <a:pPr algn="ctr"/>
                      <a:r>
                        <a:rPr lang="en-US" sz="1700" dirty="0"/>
                        <a:t>Significant factor</a:t>
                      </a:r>
                      <a:r>
                        <a:rPr lang="en-US" sz="1700" baseline="0" dirty="0"/>
                        <a:t> contributing to HAIs incidences in care areas</a:t>
                      </a:r>
                      <a:endParaRPr lang="en-US" sz="1700" dirty="0"/>
                    </a:p>
                  </a:txBody>
                  <a:tcPr marL="109728" marR="109728" marT="54864" marB="5486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/>
                        <a:t>Disposable ECG leadwires may help to reduce the risk of HAIs in healthcare settings</a:t>
                      </a:r>
                    </a:p>
                  </a:txBody>
                  <a:tcPr marL="109728" marR="109728" marT="54864" marB="54864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86185">
                <a:tc>
                  <a:txBody>
                    <a:bodyPr/>
                    <a:lstStyle/>
                    <a:p>
                      <a:pPr algn="ctr"/>
                      <a:r>
                        <a:rPr lang="en-US" sz="1700" dirty="0"/>
                        <a:t>Costs: Reusable</a:t>
                      </a:r>
                      <a:r>
                        <a:rPr lang="en-US" sz="1700" baseline="0" dirty="0"/>
                        <a:t> l</a:t>
                      </a:r>
                      <a:r>
                        <a:rPr lang="en-US" sz="1700" dirty="0"/>
                        <a:t>eadwires,</a:t>
                      </a:r>
                      <a:r>
                        <a:rPr lang="en-US" sz="1700" baseline="0" dirty="0"/>
                        <a:t> </a:t>
                      </a:r>
                      <a:r>
                        <a:rPr lang="en-US" sz="1700" dirty="0"/>
                        <a:t>cleaning agents,</a:t>
                      </a:r>
                      <a:r>
                        <a:rPr lang="en-US" sz="1700" baseline="0" dirty="0"/>
                        <a:t> </a:t>
                      </a:r>
                      <a:r>
                        <a:rPr lang="en-US" sz="1700" dirty="0"/>
                        <a:t>cleaning</a:t>
                      </a:r>
                      <a:r>
                        <a:rPr lang="en-US" sz="1700" baseline="0" dirty="0"/>
                        <a:t> processes and staff time</a:t>
                      </a:r>
                      <a:endParaRPr lang="en-US" sz="1700" dirty="0"/>
                    </a:p>
                  </a:txBody>
                  <a:tcPr marL="109728" marR="109728" marT="54864" marB="5486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/>
                        <a:t>Cost reductions in cleaning processes</a:t>
                      </a:r>
                      <a:r>
                        <a:rPr lang="en-US" sz="1700" baseline="0" dirty="0"/>
                        <a:t> and staff time but added cost of SPU leads</a:t>
                      </a:r>
                      <a:endParaRPr lang="en-US" sz="1700" dirty="0"/>
                    </a:p>
                  </a:txBody>
                  <a:tcPr marL="109728" marR="109728" marT="54864" marB="54864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posable vs. reusable</a:t>
            </a: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838478" y="7759337"/>
            <a:ext cx="5392348" cy="275082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1533558"/>
      </p:ext>
    </p:extLst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sks across care setting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41043" y="1459553"/>
            <a:ext cx="10148314" cy="5564291"/>
          </a:xfrm>
        </p:spPr>
        <p:txBody>
          <a:bodyPr>
            <a:normAutofit/>
          </a:bodyPr>
          <a:lstStyle/>
          <a:p>
            <a:pPr>
              <a:lnSpc>
                <a:spcPct val="110000"/>
              </a:lnSpc>
              <a:spcBef>
                <a:spcPts val="720"/>
              </a:spcBef>
            </a:pPr>
            <a:r>
              <a:rPr lang="en-US" sz="2160" b="1" dirty="0"/>
              <a:t>Outpatient</a:t>
            </a:r>
            <a:r>
              <a:rPr lang="en-US" sz="2160" dirty="0"/>
              <a:t>- Often have limited capacity for oversight and infection control compared to hospital-based settings.</a:t>
            </a:r>
            <a:r>
              <a:rPr lang="en-US" sz="2160" baseline="30000" dirty="0"/>
              <a:t>1</a:t>
            </a:r>
          </a:p>
          <a:p>
            <a:pPr>
              <a:lnSpc>
                <a:spcPct val="110000"/>
              </a:lnSpc>
              <a:spcBef>
                <a:spcPts val="720"/>
              </a:spcBef>
            </a:pPr>
            <a:r>
              <a:rPr lang="en-US" sz="2160" b="1" dirty="0"/>
              <a:t>ICU</a:t>
            </a:r>
            <a:r>
              <a:rPr lang="en-US" sz="2160" dirty="0"/>
              <a:t>- ~30% of patients in ICUs develop at least one HAI, often linked to the prolonged use of invasive devices.</a:t>
            </a:r>
            <a:r>
              <a:rPr lang="en-US" sz="2160" baseline="30000" dirty="0"/>
              <a:t>2</a:t>
            </a:r>
          </a:p>
          <a:p>
            <a:pPr>
              <a:lnSpc>
                <a:spcPct val="110000"/>
              </a:lnSpc>
              <a:spcBef>
                <a:spcPts val="720"/>
              </a:spcBef>
            </a:pPr>
            <a:r>
              <a:rPr lang="en-US" sz="2160" b="1" dirty="0"/>
              <a:t>Emergency </a:t>
            </a:r>
            <a:r>
              <a:rPr lang="en-US" sz="2160" b="1" dirty="0" err="1"/>
              <a:t>Dept</a:t>
            </a:r>
            <a:r>
              <a:rPr lang="en-US" sz="2160" b="1" dirty="0"/>
              <a:t>- </a:t>
            </a:r>
            <a:r>
              <a:rPr lang="en-US" sz="2160" dirty="0"/>
              <a:t>Rapid treatment of a cross-section of patients makes the ER an area of risk.</a:t>
            </a:r>
            <a:r>
              <a:rPr lang="en-US" sz="2160" baseline="30000" dirty="0"/>
              <a:t>3</a:t>
            </a:r>
          </a:p>
          <a:p>
            <a:pPr>
              <a:lnSpc>
                <a:spcPct val="110000"/>
              </a:lnSpc>
              <a:spcBef>
                <a:spcPts val="720"/>
              </a:spcBef>
            </a:pPr>
            <a:r>
              <a:rPr lang="en-US" sz="2160" b="1" dirty="0"/>
              <a:t>Surgery</a:t>
            </a:r>
            <a:r>
              <a:rPr lang="en-US" sz="2160" dirty="0"/>
              <a:t>- A surgical wound infection occurs when </a:t>
            </a:r>
            <a:r>
              <a:rPr lang="en-US" sz="2160" dirty="0" err="1"/>
              <a:t>microrganisms</a:t>
            </a:r>
            <a:r>
              <a:rPr lang="en-US" sz="2160" dirty="0"/>
              <a:t> from the skin or the environment interferes with the incision site.</a:t>
            </a:r>
            <a:r>
              <a:rPr lang="en-US" sz="2160" baseline="30000" dirty="0"/>
              <a:t>4 </a:t>
            </a:r>
            <a:r>
              <a:rPr lang="en-US" sz="2160" dirty="0"/>
              <a:t>31% of total HAIs.</a:t>
            </a:r>
          </a:p>
          <a:p>
            <a:pPr>
              <a:lnSpc>
                <a:spcPct val="110000"/>
              </a:lnSpc>
              <a:spcBef>
                <a:spcPts val="720"/>
              </a:spcBef>
            </a:pPr>
            <a:r>
              <a:rPr lang="en-US" sz="2160" b="1" dirty="0"/>
              <a:t>Burn Unit- </a:t>
            </a:r>
            <a:r>
              <a:rPr lang="en-US" sz="2160" dirty="0"/>
              <a:t>Due to the nature of the burn injury itself, </a:t>
            </a:r>
            <a:r>
              <a:rPr lang="en-US" sz="2160" dirty="0" err="1"/>
              <a:t>immuno</a:t>
            </a:r>
            <a:r>
              <a:rPr lang="en-US" sz="2160" dirty="0"/>
              <a:t>-compromising effects of burn injury, prolonged hospital stays, and invasive diagnostic &amp; therapeutic procedures.</a:t>
            </a:r>
            <a:r>
              <a:rPr lang="en-US" sz="2160" baseline="30000" dirty="0"/>
              <a:t>5</a:t>
            </a:r>
          </a:p>
          <a:p>
            <a:pPr>
              <a:lnSpc>
                <a:spcPct val="110000"/>
              </a:lnSpc>
              <a:spcBef>
                <a:spcPts val="720"/>
              </a:spcBef>
            </a:pPr>
            <a:endParaRPr lang="en-US" sz="2160" dirty="0"/>
          </a:p>
        </p:txBody>
      </p:sp>
      <p:sp>
        <p:nvSpPr>
          <p:cNvPr id="5" name="Rectangle 4"/>
          <p:cNvSpPr/>
          <p:nvPr/>
        </p:nvSpPr>
        <p:spPr>
          <a:xfrm>
            <a:off x="2237004" y="6346784"/>
            <a:ext cx="10152353" cy="11264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74320" indent="-274320">
              <a:buAutoNum type="arabicPeriod"/>
            </a:pPr>
            <a:r>
              <a:rPr lang="en-US" sz="960" dirty="0"/>
              <a:t>Healthcare-Associated Infections. Healthy People.gov. Accessed October 6, 2013. </a:t>
            </a:r>
            <a:r>
              <a:rPr lang="en-US" sz="960" dirty="0">
                <a:hlinkClick r:id="rId2"/>
              </a:rPr>
              <a:t>http://www.healthypeople.gov/2020/topicsobjectives2020/overview.aspx?topicid=17</a:t>
            </a:r>
            <a:r>
              <a:rPr lang="en-US" sz="960" dirty="0"/>
              <a:t>. </a:t>
            </a:r>
          </a:p>
          <a:p>
            <a:pPr marL="274320" indent="-274320">
              <a:buAutoNum type="arabicPeriod"/>
            </a:pPr>
            <a:r>
              <a:rPr lang="en-US" sz="960" dirty="0"/>
              <a:t>World Health Organization. Health care-associated infections, FACT SHEET. Accessed October 6, 2013. </a:t>
            </a:r>
            <a:r>
              <a:rPr lang="en-US" sz="960" dirty="0">
                <a:hlinkClick r:id="rId3"/>
              </a:rPr>
              <a:t>http://www.who.int/gpsc/country_work/gpsc_ccisc_fact_sheet_en.pdf</a:t>
            </a:r>
            <a:r>
              <a:rPr lang="en-US" sz="960" dirty="0"/>
              <a:t>. </a:t>
            </a:r>
          </a:p>
          <a:p>
            <a:pPr marL="274320" indent="-274320">
              <a:buAutoNum type="arabicPeriod"/>
            </a:pPr>
            <a:r>
              <a:rPr lang="en-US" sz="960" dirty="0"/>
              <a:t>5 Infectious Diseases You Might Get in the ER.  Discovery Health. Accessed October 6, 2013. </a:t>
            </a:r>
            <a:r>
              <a:rPr lang="en-US" sz="960" dirty="0">
                <a:hlinkClick r:id="rId4"/>
              </a:rPr>
              <a:t>http://health.howstuffworks.com/medicine/5-infectious-diseases-you-might-get-in-er.htm</a:t>
            </a:r>
            <a:r>
              <a:rPr lang="en-US" sz="960" dirty="0"/>
              <a:t>.</a:t>
            </a:r>
          </a:p>
          <a:p>
            <a:pPr marL="274320" indent="-274320">
              <a:buFontTx/>
              <a:buAutoNum type="arabicPeriod"/>
            </a:pPr>
            <a:r>
              <a:rPr lang="en-US" sz="960" dirty="0"/>
              <a:t>Safe Car Campaign.  SURGICAL SITE INFECTION: DEFINITION AND STATISTICS.  Accessed October 5, 2013. </a:t>
            </a:r>
            <a:r>
              <a:rPr lang="en-US" sz="960" dirty="0">
                <a:hlinkClick r:id="rId5"/>
              </a:rPr>
              <a:t>http://www.safecarecampaign.org/SSI.html</a:t>
            </a:r>
            <a:r>
              <a:rPr lang="en-US" sz="960" dirty="0"/>
              <a:t>. </a:t>
            </a:r>
          </a:p>
          <a:p>
            <a:pPr marL="274320" indent="-274320">
              <a:buAutoNum type="arabicPeriod"/>
            </a:pPr>
            <a:r>
              <a:rPr lang="en-US" sz="960" dirty="0" err="1"/>
              <a:t>Wurtz</a:t>
            </a:r>
            <a:r>
              <a:rPr lang="en-US" sz="960" dirty="0"/>
              <a:t> R, </a:t>
            </a:r>
            <a:r>
              <a:rPr lang="en-US" sz="960" dirty="0" err="1"/>
              <a:t>Karajovic</a:t>
            </a:r>
            <a:r>
              <a:rPr lang="en-US" sz="960" dirty="0"/>
              <a:t> M, </a:t>
            </a:r>
            <a:r>
              <a:rPr lang="en-US" sz="960" dirty="0" err="1"/>
              <a:t>Dacumos</a:t>
            </a:r>
            <a:r>
              <a:rPr lang="en-US" sz="960" dirty="0"/>
              <a:t> E, </a:t>
            </a:r>
            <a:r>
              <a:rPr lang="en-US" sz="960" dirty="0" err="1"/>
              <a:t>Jovanovic</a:t>
            </a:r>
            <a:r>
              <a:rPr lang="en-US" sz="960" dirty="0"/>
              <a:t> B, </a:t>
            </a:r>
            <a:r>
              <a:rPr lang="en-US" sz="960" dirty="0" err="1"/>
              <a:t>Hanumadass</a:t>
            </a:r>
            <a:r>
              <a:rPr lang="en-US" sz="960" dirty="0"/>
              <a:t> M. Nosocomial infections in a burn intensive care unit. Burns. 1995 May;21(3):181-4. </a:t>
            </a:r>
            <a:r>
              <a:rPr lang="en-US" sz="960" dirty="0">
                <a:hlinkClick r:id="rId6"/>
              </a:rPr>
              <a:t>http://www.ncbi.nlm.nih.gov/pubmed/7794498</a:t>
            </a:r>
            <a:r>
              <a:rPr lang="en-US" sz="960" dirty="0"/>
              <a:t>. </a:t>
            </a: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838478" y="7759337"/>
            <a:ext cx="5392348" cy="275082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191343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57505" y="700170"/>
            <a:ext cx="6243320" cy="600164"/>
          </a:xfrm>
          <a:prstGeom prst="rect">
            <a:avLst/>
          </a:prstGeom>
        </p:spPr>
        <p:txBody>
          <a:bodyPr spcFirstLastPara="1" vert="horz" wrap="square" lIns="0" tIns="20320" rIns="0" bIns="0" rtlCol="0" anchor="ctr" anchorCtr="0">
            <a:spAutoFit/>
          </a:bodyPr>
          <a:lstStyle/>
          <a:p>
            <a:pPr marL="20320">
              <a:lnSpc>
                <a:spcPct val="100000"/>
              </a:lnSpc>
              <a:spcBef>
                <a:spcPts val="160"/>
              </a:spcBef>
            </a:pPr>
            <a:r>
              <a:rPr u="none" dirty="0"/>
              <a:t>SPU – is there</a:t>
            </a:r>
            <a:r>
              <a:rPr spc="-152" dirty="0"/>
              <a:t> </a:t>
            </a:r>
            <a:r>
              <a:rPr u="none" dirty="0"/>
              <a:t>demand?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2503422" y="1869847"/>
            <a:ext cx="4708144" cy="5281318"/>
          </a:xfrm>
          <a:prstGeom prst="rect">
            <a:avLst/>
          </a:prstGeom>
        </p:spPr>
        <p:txBody>
          <a:bodyPr vert="horz" wrap="square" lIns="0" tIns="112776" rIns="0" bIns="0" rtlCol="0">
            <a:spAutoFit/>
          </a:bodyPr>
          <a:lstStyle/>
          <a:p>
            <a:pPr marL="20320" marR="8128">
              <a:lnSpc>
                <a:spcPct val="80000"/>
              </a:lnSpc>
              <a:spcBef>
                <a:spcPts val="888"/>
              </a:spcBef>
            </a:pPr>
            <a:r>
              <a:rPr lang="en-GB" sz="3040" dirty="0">
                <a:solidFill>
                  <a:srgbClr val="517AC6"/>
                </a:solidFill>
              </a:rPr>
              <a:t>There is a</a:t>
            </a:r>
            <a:r>
              <a:rPr sz="3040" dirty="0">
                <a:solidFill>
                  <a:srgbClr val="517AC6"/>
                </a:solidFill>
              </a:rPr>
              <a:t> demand for</a:t>
            </a:r>
            <a:r>
              <a:rPr sz="3040" spc="-112" dirty="0">
                <a:solidFill>
                  <a:srgbClr val="517AC6"/>
                </a:solidFill>
              </a:rPr>
              <a:t> </a:t>
            </a:r>
            <a:r>
              <a:rPr sz="3040" dirty="0">
                <a:solidFill>
                  <a:srgbClr val="517AC6"/>
                </a:solidFill>
              </a:rPr>
              <a:t>special  cases</a:t>
            </a:r>
            <a:r>
              <a:rPr lang="en-GB" sz="3040" dirty="0">
                <a:solidFill>
                  <a:srgbClr val="517AC6"/>
                </a:solidFill>
              </a:rPr>
              <a:t>!</a:t>
            </a:r>
            <a:endParaRPr sz="3040" dirty="0"/>
          </a:p>
          <a:p>
            <a:pPr>
              <a:spcBef>
                <a:spcPts val="64"/>
              </a:spcBef>
            </a:pPr>
            <a:endParaRPr sz="3120" dirty="0"/>
          </a:p>
          <a:p>
            <a:pPr marL="576072" indent="-556768" algn="just">
              <a:buClr>
                <a:srgbClr val="71B0D3"/>
              </a:buClr>
              <a:buChar char="•"/>
              <a:tabLst>
                <a:tab pos="577088" algn="l"/>
              </a:tabLst>
            </a:pPr>
            <a:r>
              <a:rPr sz="3040" dirty="0">
                <a:solidFill>
                  <a:srgbClr val="517AC6"/>
                </a:solidFill>
              </a:rPr>
              <a:t>Open heart</a:t>
            </a:r>
            <a:r>
              <a:rPr sz="3040" spc="-16" dirty="0">
                <a:solidFill>
                  <a:srgbClr val="517AC6"/>
                </a:solidFill>
              </a:rPr>
              <a:t> </a:t>
            </a:r>
            <a:r>
              <a:rPr sz="3040" dirty="0">
                <a:solidFill>
                  <a:srgbClr val="517AC6"/>
                </a:solidFill>
              </a:rPr>
              <a:t>surgery</a:t>
            </a:r>
            <a:endParaRPr sz="3040" dirty="0"/>
          </a:p>
          <a:p>
            <a:pPr marL="576072" indent="-556768" algn="just">
              <a:buClr>
                <a:srgbClr val="71B0D3"/>
              </a:buClr>
              <a:buChar char="•"/>
              <a:tabLst>
                <a:tab pos="577088" algn="l"/>
              </a:tabLst>
            </a:pPr>
            <a:r>
              <a:rPr sz="3040" spc="-8" dirty="0">
                <a:solidFill>
                  <a:srgbClr val="517AC6"/>
                </a:solidFill>
              </a:rPr>
              <a:t>Burn </a:t>
            </a:r>
            <a:r>
              <a:rPr sz="3040" dirty="0">
                <a:solidFill>
                  <a:srgbClr val="517AC6"/>
                </a:solidFill>
              </a:rPr>
              <a:t>patients</a:t>
            </a:r>
            <a:endParaRPr sz="3040" dirty="0"/>
          </a:p>
          <a:p>
            <a:pPr marL="576072" indent="-556768" algn="just">
              <a:buClr>
                <a:srgbClr val="71B0D3"/>
              </a:buClr>
              <a:buChar char="•"/>
              <a:tabLst>
                <a:tab pos="577088" algn="l"/>
              </a:tabLst>
            </a:pPr>
            <a:r>
              <a:rPr sz="3040" dirty="0">
                <a:solidFill>
                  <a:srgbClr val="517AC6"/>
                </a:solidFill>
              </a:rPr>
              <a:t>MRSA</a:t>
            </a:r>
            <a:r>
              <a:rPr sz="3040" spc="-192" dirty="0">
                <a:solidFill>
                  <a:srgbClr val="517AC6"/>
                </a:solidFill>
              </a:rPr>
              <a:t> </a:t>
            </a:r>
            <a:r>
              <a:rPr sz="3040" spc="-8" dirty="0">
                <a:solidFill>
                  <a:srgbClr val="517AC6"/>
                </a:solidFill>
              </a:rPr>
              <a:t>patients</a:t>
            </a:r>
            <a:endParaRPr sz="3040" dirty="0"/>
          </a:p>
          <a:p>
            <a:pPr marL="576072" indent="-556768" algn="just">
              <a:buClr>
                <a:srgbClr val="71B0D3"/>
              </a:buClr>
              <a:buChar char="•"/>
              <a:tabLst>
                <a:tab pos="577088" algn="l"/>
              </a:tabLst>
            </a:pPr>
            <a:r>
              <a:rPr sz="3040" dirty="0">
                <a:solidFill>
                  <a:srgbClr val="517AC6"/>
                </a:solidFill>
              </a:rPr>
              <a:t>Sepsis</a:t>
            </a:r>
            <a:r>
              <a:rPr sz="3040" spc="-96" dirty="0">
                <a:solidFill>
                  <a:srgbClr val="517AC6"/>
                </a:solidFill>
              </a:rPr>
              <a:t> </a:t>
            </a:r>
            <a:r>
              <a:rPr sz="3040" spc="-8" dirty="0">
                <a:solidFill>
                  <a:srgbClr val="517AC6"/>
                </a:solidFill>
              </a:rPr>
              <a:t>patients</a:t>
            </a:r>
            <a:endParaRPr sz="3040" dirty="0"/>
          </a:p>
          <a:p>
            <a:pPr marL="576072" indent="-556768" algn="just">
              <a:buClr>
                <a:srgbClr val="71B0D3"/>
              </a:buClr>
              <a:buChar char="•"/>
              <a:tabLst>
                <a:tab pos="577088" algn="l"/>
              </a:tabLst>
            </a:pPr>
            <a:r>
              <a:rPr sz="3040" spc="-8" dirty="0">
                <a:solidFill>
                  <a:srgbClr val="517AC6"/>
                </a:solidFill>
              </a:rPr>
              <a:t>Isolation</a:t>
            </a:r>
            <a:r>
              <a:rPr sz="3040" spc="-64" dirty="0">
                <a:solidFill>
                  <a:srgbClr val="517AC6"/>
                </a:solidFill>
              </a:rPr>
              <a:t> </a:t>
            </a:r>
            <a:r>
              <a:rPr sz="3040" dirty="0">
                <a:solidFill>
                  <a:srgbClr val="517AC6"/>
                </a:solidFill>
              </a:rPr>
              <a:t>rooms</a:t>
            </a:r>
            <a:endParaRPr sz="3040" dirty="0"/>
          </a:p>
          <a:p>
            <a:pPr marL="576072" marR="529336" indent="-556768" algn="just">
              <a:lnSpc>
                <a:spcPct val="80000"/>
              </a:lnSpc>
              <a:spcBef>
                <a:spcPts val="728"/>
              </a:spcBef>
              <a:buClr>
                <a:srgbClr val="71B0D3"/>
              </a:buClr>
              <a:buChar char="•"/>
              <a:tabLst>
                <a:tab pos="577088" algn="l"/>
              </a:tabLst>
            </a:pPr>
            <a:r>
              <a:rPr sz="3040" dirty="0">
                <a:solidFill>
                  <a:srgbClr val="517AC6"/>
                </a:solidFill>
              </a:rPr>
              <a:t>Other at risk: </a:t>
            </a:r>
            <a:r>
              <a:rPr sz="3040" spc="-32" dirty="0">
                <a:solidFill>
                  <a:srgbClr val="517AC6"/>
                </a:solidFill>
              </a:rPr>
              <a:t>elderly,  </a:t>
            </a:r>
            <a:r>
              <a:rPr sz="3040" dirty="0">
                <a:solidFill>
                  <a:srgbClr val="517AC6"/>
                </a:solidFill>
              </a:rPr>
              <a:t>very young, reduced  immune system</a:t>
            </a:r>
            <a:r>
              <a:rPr sz="3040" spc="-120" dirty="0">
                <a:solidFill>
                  <a:srgbClr val="517AC6"/>
                </a:solidFill>
              </a:rPr>
              <a:t> </a:t>
            </a:r>
            <a:r>
              <a:rPr sz="3040" dirty="0">
                <a:solidFill>
                  <a:srgbClr val="517AC6"/>
                </a:solidFill>
              </a:rPr>
              <a:t>(e.g.  cancer)</a:t>
            </a:r>
            <a:endParaRPr sz="3040" dirty="0"/>
          </a:p>
        </p:txBody>
      </p:sp>
      <p:sp>
        <p:nvSpPr>
          <p:cNvPr id="4" name="object 4"/>
          <p:cNvSpPr/>
          <p:nvPr/>
        </p:nvSpPr>
        <p:spPr>
          <a:xfrm>
            <a:off x="7641945" y="1947061"/>
            <a:ext cx="2645662" cy="484997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5" name="object 5"/>
          <p:cNvSpPr/>
          <p:nvPr/>
        </p:nvSpPr>
        <p:spPr>
          <a:xfrm>
            <a:off x="10531450" y="3139441"/>
            <a:ext cx="1589837" cy="118262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6" name="object 6"/>
          <p:cNvSpPr/>
          <p:nvPr/>
        </p:nvSpPr>
        <p:spPr>
          <a:xfrm>
            <a:off x="10575341" y="4357421"/>
            <a:ext cx="1525218" cy="173492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7" name="object 7"/>
          <p:cNvSpPr/>
          <p:nvPr/>
        </p:nvSpPr>
        <p:spPr>
          <a:xfrm>
            <a:off x="10602164" y="5699760"/>
            <a:ext cx="1519122" cy="115092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8" name="object 8"/>
          <p:cNvSpPr/>
          <p:nvPr/>
        </p:nvSpPr>
        <p:spPr>
          <a:xfrm>
            <a:off x="10564368" y="1947061"/>
            <a:ext cx="1589837" cy="119237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9" name="object 9"/>
          <p:cNvSpPr txBox="1"/>
          <p:nvPr/>
        </p:nvSpPr>
        <p:spPr>
          <a:xfrm>
            <a:off x="8484818" y="7637661"/>
            <a:ext cx="3445256" cy="247247"/>
          </a:xfrm>
          <a:prstGeom prst="rect">
            <a:avLst/>
          </a:prstGeom>
        </p:spPr>
        <p:txBody>
          <a:bodyPr vert="horz" wrap="square" lIns="0" tIns="1016" rIns="0" bIns="0" rtlCol="0">
            <a:spAutoFit/>
          </a:bodyPr>
          <a:lstStyle/>
          <a:p>
            <a:pPr marL="20320">
              <a:spcBef>
                <a:spcPts val="8"/>
              </a:spcBef>
            </a:pPr>
            <a:r>
              <a:rPr sz="1600" b="1" dirty="0">
                <a:solidFill>
                  <a:srgbClr val="F1F1F1"/>
                </a:solidFill>
              </a:rPr>
              <a:t>CONFIDENTIAL – Internal Use</a:t>
            </a:r>
            <a:r>
              <a:rPr sz="1600" b="1" spc="-216" dirty="0">
                <a:solidFill>
                  <a:srgbClr val="F1F1F1"/>
                </a:solidFill>
              </a:rPr>
              <a:t> </a:t>
            </a:r>
            <a:r>
              <a:rPr sz="1600" b="1" dirty="0">
                <a:solidFill>
                  <a:srgbClr val="F1F1F1"/>
                </a:solidFill>
              </a:rPr>
              <a:t>Only</a:t>
            </a:r>
            <a:endParaRPr sz="1600"/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B483AE-6AE5-4496-94E6-92AB44D486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mpetito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03DC52-86AB-492E-8391-1DB8DB1214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BDE47-A11E-FE42-85BD-DB007C88386C}" type="slidenum">
              <a:rPr lang="en-US" smtClean="0"/>
              <a:t>25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15A446E-B479-4123-87BF-AA6EE3A6F3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0663" y="299225"/>
            <a:ext cx="11937822" cy="6877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6034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27"/>
          <p:cNvSpPr txBox="1">
            <a:spLocks noChangeArrowheads="1"/>
          </p:cNvSpPr>
          <p:nvPr/>
        </p:nvSpPr>
        <p:spPr bwMode="auto">
          <a:xfrm>
            <a:off x="7605470" y="3118486"/>
            <a:ext cx="3321610" cy="424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3200">
                <a:solidFill>
                  <a:schemeClr val="tx1"/>
                </a:solidFill>
                <a:latin typeface="GE Inspira Pitch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GE Inspira Pitch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GE Inspira Pitch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GE Inspira Pitch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GE Inspira Pitch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GE Inspira Pitch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GE Inspira Pitch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GE Inspira Pitch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GE Inspira Pitch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fi-FI" sz="216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Vyaire</a:t>
            </a:r>
            <a:r>
              <a:rPr lang="en-US" dirty="0"/>
              <a:t> SPU ECG Product Detail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40909" y="1802888"/>
            <a:ext cx="3524757" cy="5697287"/>
          </a:xfrm>
        </p:spPr>
        <p:txBody>
          <a:bodyPr>
            <a:normAutofit/>
          </a:bodyPr>
          <a:lstStyle/>
          <a:p>
            <a:pPr>
              <a:lnSpc>
                <a:spcPct val="110000"/>
              </a:lnSpc>
              <a:spcBef>
                <a:spcPts val="720"/>
              </a:spcBef>
              <a:spcAft>
                <a:spcPts val="720"/>
              </a:spcAft>
              <a:buFont typeface="Wingdings" panose="05000000000000000000" pitchFamily="2" charset="2"/>
              <a:buChar char="ü"/>
            </a:pPr>
            <a:r>
              <a:rPr lang="en-US" dirty="0"/>
              <a:t>Fully shielded to reduce electromagnetic interference</a:t>
            </a:r>
          </a:p>
          <a:p>
            <a:pPr>
              <a:lnSpc>
                <a:spcPct val="110000"/>
              </a:lnSpc>
              <a:spcBef>
                <a:spcPts val="720"/>
              </a:spcBef>
              <a:spcAft>
                <a:spcPts val="720"/>
              </a:spcAft>
              <a:buFont typeface="Wingdings" panose="05000000000000000000" pitchFamily="2" charset="2"/>
              <a:buChar char="ü"/>
            </a:pPr>
            <a:r>
              <a:rPr lang="en-US" dirty="0"/>
              <a:t>Securely connect to electrodes to prevent accidental disconnection</a:t>
            </a:r>
          </a:p>
          <a:p>
            <a:pPr>
              <a:lnSpc>
                <a:spcPct val="110000"/>
              </a:lnSpc>
              <a:spcBef>
                <a:spcPts val="720"/>
              </a:spcBef>
              <a:spcAft>
                <a:spcPts val="720"/>
              </a:spcAft>
              <a:buFont typeface="Wingdings" panose="05000000000000000000" pitchFamily="2" charset="2"/>
              <a:buChar char="ü"/>
            </a:pPr>
            <a:r>
              <a:rPr lang="en-US" dirty="0" err="1"/>
              <a:t>Colour</a:t>
            </a:r>
            <a:r>
              <a:rPr lang="en-US" dirty="0"/>
              <a:t> coded (light green) to enable easy identification and prevent loss of reusable accessories</a:t>
            </a:r>
          </a:p>
          <a:p>
            <a:pPr>
              <a:lnSpc>
                <a:spcPct val="110000"/>
              </a:lnSpc>
              <a:spcBef>
                <a:spcPts val="720"/>
              </a:spcBef>
              <a:spcAft>
                <a:spcPts val="720"/>
              </a:spcAft>
              <a:buFont typeface="Wingdings" panose="05000000000000000000" pitchFamily="2" charset="2"/>
              <a:buChar char="ü"/>
            </a:pPr>
            <a:r>
              <a:rPr lang="en-US" dirty="0"/>
              <a:t>Can be used for up to 2 weeks on the same patient</a:t>
            </a: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838478" y="7759337"/>
            <a:ext cx="5392348" cy="275082"/>
          </a:xfrm>
        </p:spPr>
        <p:txBody>
          <a:bodyPr/>
          <a:lstStyle/>
          <a:p>
            <a:endParaRPr lang="en-US" dirty="0"/>
          </a:p>
        </p:txBody>
      </p:sp>
      <p:graphicFrame>
        <p:nvGraphicFramePr>
          <p:cNvPr id="7" name="Tableau 2">
            <a:extLst>
              <a:ext uri="{FF2B5EF4-FFF2-40B4-BE49-F238E27FC236}">
                <a16:creationId xmlns:a16="http://schemas.microsoft.com/office/drawing/2014/main" id="{D00DB1F7-7D70-4A0D-9DFD-BE9FA8FB32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0796939"/>
              </p:ext>
            </p:extLst>
          </p:nvPr>
        </p:nvGraphicFramePr>
        <p:xfrm>
          <a:off x="4628611" y="1929376"/>
          <a:ext cx="9760880" cy="5093973"/>
        </p:xfrm>
        <a:graphic>
          <a:graphicData uri="http://schemas.openxmlformats.org/drawingml/2006/table">
            <a:tbl>
              <a:tblPr bandRow="1">
                <a:tableStyleId>{616DA210-FB5B-4158-B5E0-FEB733F419BA}</a:tableStyleId>
              </a:tblPr>
              <a:tblGrid>
                <a:gridCol w="48804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804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6229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3400" b="1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Feature</a:t>
                      </a:r>
                      <a:endParaRPr kumimoji="0" lang="en-US" sz="3400" b="1" i="0" u="none" strike="noStrike" cap="none" normalizeH="0" baseline="0" dirty="0">
                        <a:ln>
                          <a:noFill/>
                        </a:ln>
                        <a:solidFill>
                          <a:srgbClr val="4157AD"/>
                        </a:solidFill>
                        <a:effectLst/>
                        <a:latin typeface="+mn-lt"/>
                      </a:endParaRPr>
                    </a:p>
                  </a:txBody>
                  <a:tcPr marL="109729" marR="109729" marT="54870" marB="5487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i-FI" sz="3400" b="1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Advantages</a:t>
                      </a:r>
                      <a:endParaRPr kumimoji="0" lang="fi-FI" sz="3400" b="1" i="0" u="none" strike="noStrike" cap="none" normalizeH="0" baseline="0" dirty="0">
                        <a:ln>
                          <a:noFill/>
                        </a:ln>
                        <a:solidFill>
                          <a:srgbClr val="4157AD"/>
                        </a:solidFill>
                        <a:effectLst/>
                        <a:latin typeface="+mn-lt"/>
                      </a:endParaRPr>
                    </a:p>
                  </a:txBody>
                  <a:tcPr marL="109729" marR="109729" marT="54870" marB="5487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9809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488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fi-FI" sz="19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Single-patient-use </a:t>
                      </a:r>
                      <a:endParaRPr kumimoji="0" lang="fi-FI" sz="1900" b="0" i="0" u="none" strike="noStrike" cap="none" normalizeH="0" baseline="0" dirty="0">
                        <a:ln>
                          <a:noFill/>
                        </a:ln>
                        <a:solidFill>
                          <a:srgbClr val="4157AD"/>
                        </a:solidFill>
                        <a:effectLst/>
                        <a:latin typeface="+mn-lt"/>
                      </a:endParaRPr>
                    </a:p>
                  </a:txBody>
                  <a:tcPr marL="109729" marR="109729" marT="54870" marB="5487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488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GB" sz="19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Designed to reduce the risk of bacterial cross-contamination</a:t>
                      </a:r>
                      <a:endParaRPr kumimoji="0" lang="en-GB" sz="1900" b="0" i="0" u="none" strike="noStrike" cap="none" normalizeH="0" baseline="0" dirty="0">
                        <a:ln>
                          <a:noFill/>
                        </a:ln>
                        <a:solidFill>
                          <a:srgbClr val="4157AD"/>
                        </a:solidFill>
                        <a:effectLst/>
                        <a:latin typeface="+mn-lt"/>
                      </a:endParaRPr>
                    </a:p>
                  </a:txBody>
                  <a:tcPr marL="109729" marR="109729" marT="54870" marB="5487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6229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488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fi-FI" sz="19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Multi-Link® ECG cable compatibility</a:t>
                      </a:r>
                      <a:endParaRPr kumimoji="0" lang="en-US" sz="1900" b="0" i="0" u="none" strike="noStrike" cap="none" normalizeH="0" baseline="0" dirty="0">
                        <a:ln>
                          <a:noFill/>
                        </a:ln>
                        <a:solidFill>
                          <a:srgbClr val="4157AD"/>
                        </a:solidFill>
                        <a:effectLst/>
                        <a:latin typeface="+mn-lt"/>
                      </a:endParaRPr>
                    </a:p>
                  </a:txBody>
                  <a:tcPr marL="109729" marR="109729" marT="54870" marB="5487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9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Designed and validated for use on GE® ECG Monitoring equipment and others</a:t>
                      </a:r>
                      <a:endParaRPr kumimoji="0" lang="en-US" sz="1900" b="0" i="0" u="none" strike="noStrike" cap="none" normalizeH="0" baseline="0" dirty="0">
                        <a:ln>
                          <a:noFill/>
                        </a:ln>
                        <a:solidFill>
                          <a:srgbClr val="4157AD"/>
                        </a:solidFill>
                        <a:effectLst/>
                        <a:latin typeface="+mn-lt"/>
                      </a:endParaRPr>
                    </a:p>
                  </a:txBody>
                  <a:tcPr marL="109729" marR="109729" marT="54870" marB="5487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9809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i-FI" sz="19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Fully shielded</a:t>
                      </a:r>
                      <a:endParaRPr kumimoji="0" lang="fi-FI" sz="1900" b="0" i="0" u="none" strike="noStrike" cap="none" normalizeH="0" baseline="0" dirty="0">
                        <a:ln>
                          <a:noFill/>
                        </a:ln>
                        <a:solidFill>
                          <a:srgbClr val="4157AD"/>
                        </a:solidFill>
                        <a:effectLst/>
                        <a:latin typeface="+mn-lt"/>
                      </a:endParaRPr>
                    </a:p>
                  </a:txBody>
                  <a:tcPr marL="109729" marR="109729" marT="54870" marB="5487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488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GB" sz="19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Helps reduce electromagnetic interference in the acute care setting</a:t>
                      </a:r>
                      <a:endParaRPr kumimoji="0" lang="en-US" sz="1900" b="0" i="0" u="none" strike="noStrike" cap="none" normalizeH="0" baseline="0" dirty="0">
                        <a:ln>
                          <a:noFill/>
                        </a:ln>
                        <a:solidFill>
                          <a:srgbClr val="4157AD"/>
                        </a:solidFill>
                        <a:effectLst/>
                        <a:latin typeface="+mn-lt"/>
                      </a:endParaRPr>
                    </a:p>
                  </a:txBody>
                  <a:tcPr marL="109729" marR="109729" marT="54870" marB="5487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8813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488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GB" sz="19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Free of natural rubber latex</a:t>
                      </a:r>
                      <a:endParaRPr kumimoji="0" lang="en-US" sz="1900" b="0" i="0" u="none" strike="noStrike" cap="none" normalizeH="0" baseline="0" dirty="0">
                        <a:ln>
                          <a:noFill/>
                        </a:ln>
                        <a:solidFill>
                          <a:srgbClr val="4157AD"/>
                        </a:solidFill>
                        <a:effectLst/>
                        <a:latin typeface="+mn-lt"/>
                      </a:endParaRPr>
                    </a:p>
                  </a:txBody>
                  <a:tcPr marL="109729" marR="109729" marT="54870" marB="5487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488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fi-FI" sz="19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Helps improve patient comfort &amp; safety</a:t>
                      </a:r>
                      <a:endParaRPr kumimoji="0" lang="en-US" sz="1900" b="0" i="0" u="none" strike="noStrike" cap="none" normalizeH="0" baseline="0" dirty="0">
                        <a:ln>
                          <a:noFill/>
                        </a:ln>
                        <a:solidFill>
                          <a:srgbClr val="4157AD"/>
                        </a:solidFill>
                        <a:effectLst/>
                        <a:latin typeface="+mn-lt"/>
                      </a:endParaRPr>
                    </a:p>
                  </a:txBody>
                  <a:tcPr marL="109729" marR="109729" marT="54870" marB="5487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9809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9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Light green colored ribbon wire</a:t>
                      </a:r>
                      <a:endParaRPr kumimoji="0" lang="en-US" sz="1900" b="0" i="0" u="none" strike="noStrike" cap="none" normalizeH="0" baseline="0" dirty="0">
                        <a:ln>
                          <a:noFill/>
                        </a:ln>
                        <a:solidFill>
                          <a:srgbClr val="4157AD"/>
                        </a:solidFill>
                        <a:effectLst/>
                        <a:latin typeface="+mn-lt"/>
                      </a:endParaRPr>
                    </a:p>
                  </a:txBody>
                  <a:tcPr marL="109729" marR="109729" marT="54870" marB="5487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488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GB" sz="19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Helps for easy SPU leadwire identification</a:t>
                      </a:r>
                      <a:endParaRPr kumimoji="0" lang="en-US" sz="1900" b="0" i="0" u="none" strike="noStrike" cap="none" normalizeH="0" baseline="0" dirty="0">
                        <a:ln>
                          <a:noFill/>
                        </a:ln>
                        <a:solidFill>
                          <a:srgbClr val="4157AD"/>
                        </a:solidFill>
                        <a:effectLst/>
                        <a:latin typeface="+mn-lt"/>
                      </a:endParaRPr>
                    </a:p>
                  </a:txBody>
                  <a:tcPr marL="109729" marR="109729" marT="54870" marB="5487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869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9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Available in 3/5/V lead configuration - grabbers </a:t>
                      </a:r>
                      <a:endParaRPr kumimoji="0" lang="en-GB" sz="1900" b="0" i="0" u="none" strike="noStrike" cap="none" normalizeH="0" baseline="0" dirty="0">
                        <a:ln>
                          <a:noFill/>
                        </a:ln>
                        <a:solidFill>
                          <a:srgbClr val="4157AD"/>
                        </a:solidFill>
                        <a:effectLst/>
                        <a:latin typeface="+mn-lt"/>
                      </a:endParaRPr>
                    </a:p>
                  </a:txBody>
                  <a:tcPr marL="109729" marR="109729" marT="54870" marB="5487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E Inspira Pitch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488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9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Provides optimal usage in ICU/CCU/OR/ER  applications</a:t>
                      </a:r>
                      <a:endParaRPr kumimoji="0" lang="en-US" sz="1900" b="0" i="0" u="none" strike="noStrike" cap="none" normalizeH="0" baseline="0" dirty="0">
                        <a:ln>
                          <a:noFill/>
                        </a:ln>
                        <a:solidFill>
                          <a:srgbClr val="4157AD"/>
                        </a:solidFill>
                        <a:effectLst/>
                        <a:latin typeface="+mn-lt"/>
                      </a:endParaRPr>
                    </a:p>
                  </a:txBody>
                  <a:tcPr marL="109729" marR="109729" marT="54870" marB="5487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96334809"/>
      </p:ext>
    </p:extLst>
  </p:cSld>
  <p:clrMapOvr>
    <a:masterClrMapping/>
  </p:clrMapOvr>
  <p:transition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0B4C7A-6F8A-4D9F-AC27-C4739A9541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eps to generate SPU customer interes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483006-1A22-4CAD-9411-4B2C04BBFD3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58836" y="1397000"/>
            <a:ext cx="13309957" cy="4287265"/>
          </a:xfrm>
        </p:spPr>
        <p:txBody>
          <a:bodyPr/>
          <a:lstStyle/>
          <a:p>
            <a:r>
              <a:rPr lang="en-GB" sz="2000" dirty="0"/>
              <a:t>Have a grabber </a:t>
            </a:r>
            <a:r>
              <a:rPr lang="en-GB" sz="2000" dirty="0" err="1"/>
              <a:t>leadwire</a:t>
            </a:r>
            <a:r>
              <a:rPr lang="en-GB" sz="2000" dirty="0"/>
              <a:t> with you  – ask how confident they are it is cleaned properly and has no resistant bacteria?</a:t>
            </a:r>
          </a:p>
          <a:p>
            <a:endParaRPr lang="en-GB" sz="2000" dirty="0"/>
          </a:p>
          <a:p>
            <a:r>
              <a:rPr lang="en-GB" sz="2000" dirty="0"/>
              <a:t>Wipe test? Dirty? Ask if they would have it placed on their child with an open wound? </a:t>
            </a:r>
          </a:p>
          <a:p>
            <a:endParaRPr lang="en-GB" sz="2000" dirty="0"/>
          </a:p>
          <a:p>
            <a:r>
              <a:rPr lang="en-GB" sz="2000" dirty="0"/>
              <a:t>Recite Wisconsin study – 77% of </a:t>
            </a:r>
            <a:r>
              <a:rPr lang="en-GB" sz="2000" dirty="0" err="1"/>
              <a:t>leadwires</a:t>
            </a:r>
            <a:r>
              <a:rPr lang="en-GB" sz="2000" dirty="0"/>
              <a:t> came back  with at least one form of  antibiotic-resistant bacteria  present, including MRSA</a:t>
            </a:r>
          </a:p>
          <a:p>
            <a:endParaRPr lang="en-GB" sz="2000" dirty="0"/>
          </a:p>
          <a:p>
            <a:r>
              <a:rPr lang="en-GB" sz="2000" dirty="0"/>
              <a:t>Ask which kind of patients they think should have SPU </a:t>
            </a:r>
            <a:r>
              <a:rPr lang="en-GB" sz="2000" dirty="0" err="1"/>
              <a:t>leadwires</a:t>
            </a:r>
            <a:r>
              <a:rPr lang="en-GB" sz="2000" dirty="0"/>
              <a:t> on them?</a:t>
            </a:r>
          </a:p>
          <a:p>
            <a:endParaRPr lang="en-GB" sz="2000" dirty="0"/>
          </a:p>
          <a:p>
            <a:r>
              <a:rPr lang="en-GB" sz="2000" dirty="0"/>
              <a:t>Would they personally promote SPU </a:t>
            </a:r>
            <a:r>
              <a:rPr lang="en-GB" sz="2000" dirty="0" err="1"/>
              <a:t>leadwires</a:t>
            </a:r>
            <a:r>
              <a:rPr lang="en-GB" sz="2000" dirty="0"/>
              <a:t> for these patients?</a:t>
            </a:r>
          </a:p>
          <a:p>
            <a:endParaRPr lang="en-GB" sz="2000" dirty="0"/>
          </a:p>
          <a:p>
            <a:r>
              <a:rPr lang="en-GB" sz="2000" dirty="0"/>
              <a:t>Who would need to be convinced to get SPU </a:t>
            </a:r>
            <a:r>
              <a:rPr lang="en-GB" sz="2000" dirty="0" err="1"/>
              <a:t>leadwires</a:t>
            </a:r>
            <a:r>
              <a:rPr lang="en-GB" sz="2000" dirty="0"/>
              <a:t> into the hospital – at least for certain at risk patients?</a:t>
            </a:r>
          </a:p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E844BB-B099-43C9-9FF0-D2AB9ED8F1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BDE47-A11E-FE42-85BD-DB007C88386C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394653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D07D63-790E-4A17-B1E3-C460D00051B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2010B0-5EB5-4C37-9446-B9574A7D78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BDE47-A11E-FE42-85BD-DB007C88386C}" type="slidenum">
              <a:rPr lang="en-US" smtClean="0"/>
              <a:t>28</a:t>
            </a:fld>
            <a:endParaRPr lang="en-US"/>
          </a:p>
        </p:txBody>
      </p:sp>
      <p:pic>
        <p:nvPicPr>
          <p:cNvPr id="5122" name="Picture 2" descr="Electrocardiogram | Heart and Stroke Foundation">
            <a:extLst>
              <a:ext uri="{FF2B5EF4-FFF2-40B4-BE49-F238E27FC236}">
                <a16:creationId xmlns:a16="http://schemas.microsoft.com/office/drawing/2014/main" id="{1B8BAB27-79DB-4DAD-850C-C35A24DCEA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-10974"/>
            <a:ext cx="14630401" cy="8240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336AB4BB-EAE8-4B3B-B365-645EC0338A54}"/>
              </a:ext>
            </a:extLst>
          </p:cNvPr>
          <p:cNvSpPr txBox="1">
            <a:spLocks/>
          </p:cNvSpPr>
          <p:nvPr/>
        </p:nvSpPr>
        <p:spPr>
          <a:xfrm>
            <a:off x="1431400" y="3751325"/>
            <a:ext cx="13309958" cy="11226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A0029"/>
              </a:buClr>
              <a:buSzPts val="3600"/>
              <a:buFont typeface="Calibri"/>
              <a:buNone/>
              <a:defRPr lang="en-GB" sz="3600" b="1" i="0" u="none" strike="noStrike" cap="none">
                <a:solidFill>
                  <a:srgbClr val="EA0029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dirty="0" err="1"/>
              <a:t>Leadwire</a:t>
            </a:r>
            <a:r>
              <a:rPr lang="en-GB" dirty="0"/>
              <a:t> Tactical Tips</a:t>
            </a:r>
          </a:p>
        </p:txBody>
      </p:sp>
    </p:spTree>
    <p:extLst>
      <p:ext uri="{BB962C8B-B14F-4D97-AF65-F5344CB8AC3E}">
        <p14:creationId xmlns:p14="http://schemas.microsoft.com/office/powerpoint/2010/main" val="180851430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183586" y="362858"/>
            <a:ext cx="8872728" cy="600164"/>
          </a:xfrm>
          <a:prstGeom prst="rect">
            <a:avLst/>
          </a:prstGeom>
        </p:spPr>
        <p:txBody>
          <a:bodyPr spcFirstLastPara="1" vert="horz" wrap="square" lIns="0" tIns="20320" rIns="0" bIns="0" rtlCol="0" anchor="ctr" anchorCtr="0">
            <a:spAutoFit/>
          </a:bodyPr>
          <a:lstStyle/>
          <a:p>
            <a:pPr marL="20320">
              <a:lnSpc>
                <a:spcPct val="100000"/>
              </a:lnSpc>
              <a:spcBef>
                <a:spcPts val="160"/>
              </a:spcBef>
            </a:pPr>
            <a:r>
              <a:rPr u="none" dirty="0"/>
              <a:t>Which solution to pitch and</a:t>
            </a:r>
            <a:r>
              <a:rPr spc="-112" dirty="0"/>
              <a:t> </a:t>
            </a:r>
            <a:r>
              <a:rPr u="none" dirty="0"/>
              <a:t>where?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954783" y="7545223"/>
            <a:ext cx="176782" cy="611449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20320">
              <a:spcBef>
                <a:spcPts val="160"/>
              </a:spcBef>
            </a:pPr>
            <a:r>
              <a:rPr sz="1920" spc="-8" dirty="0">
                <a:solidFill>
                  <a:srgbClr val="71B0D3"/>
                </a:solidFill>
              </a:rPr>
              <a:t>2</a:t>
            </a:r>
            <a:endParaRPr sz="1920"/>
          </a:p>
          <a:p>
            <a:pPr marL="20320"/>
            <a:r>
              <a:rPr sz="1920" spc="-8" dirty="0">
                <a:solidFill>
                  <a:srgbClr val="71B0D3"/>
                </a:solidFill>
              </a:rPr>
              <a:t>3</a:t>
            </a:r>
            <a:endParaRPr sz="1920"/>
          </a:p>
        </p:txBody>
      </p:sp>
      <p:sp>
        <p:nvSpPr>
          <p:cNvPr id="4" name="object 4"/>
          <p:cNvSpPr/>
          <p:nvPr/>
        </p:nvSpPr>
        <p:spPr>
          <a:xfrm>
            <a:off x="2058009" y="4484216"/>
            <a:ext cx="3384498" cy="50474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5" name="object 5"/>
          <p:cNvSpPr/>
          <p:nvPr/>
        </p:nvSpPr>
        <p:spPr>
          <a:xfrm>
            <a:off x="5614213" y="2780995"/>
            <a:ext cx="2995778" cy="438790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6" name="object 6"/>
          <p:cNvSpPr txBox="1"/>
          <p:nvPr/>
        </p:nvSpPr>
        <p:spPr>
          <a:xfrm>
            <a:off x="2264054" y="1311047"/>
            <a:ext cx="3465576" cy="2293961"/>
          </a:xfrm>
          <a:prstGeom prst="rect">
            <a:avLst/>
          </a:prstGeom>
        </p:spPr>
        <p:txBody>
          <a:bodyPr vert="horz" wrap="square" lIns="0" tIns="71120" rIns="0" bIns="0" rtlCol="0">
            <a:spAutoFit/>
          </a:bodyPr>
          <a:lstStyle/>
          <a:p>
            <a:pPr marL="20320">
              <a:spcBef>
                <a:spcPts val="560"/>
              </a:spcBef>
            </a:pPr>
            <a:r>
              <a:rPr sz="1680" b="1" u="heavy" dirty="0">
                <a:solidFill>
                  <a:srgbClr val="404040"/>
                </a:solidFill>
                <a:uFill>
                  <a:solidFill>
                    <a:srgbClr val="404040"/>
                  </a:solidFill>
                </a:uFill>
                <a:latin typeface="Verdana"/>
                <a:cs typeface="Verdana"/>
              </a:rPr>
              <a:t>If your </a:t>
            </a:r>
            <a:r>
              <a:rPr sz="1680" b="1" u="heavy" spc="-8" dirty="0">
                <a:solidFill>
                  <a:srgbClr val="404040"/>
                </a:solidFill>
                <a:uFill>
                  <a:solidFill>
                    <a:srgbClr val="404040"/>
                  </a:solidFill>
                </a:uFill>
                <a:latin typeface="Verdana"/>
                <a:cs typeface="Verdana"/>
              </a:rPr>
              <a:t>customer</a:t>
            </a:r>
            <a:r>
              <a:rPr sz="1680" b="1" u="heavy" spc="8" dirty="0">
                <a:solidFill>
                  <a:srgbClr val="404040"/>
                </a:solidFill>
                <a:uFill>
                  <a:solidFill>
                    <a:srgbClr val="404040"/>
                  </a:solidFill>
                </a:uFill>
                <a:latin typeface="Verdana"/>
                <a:cs typeface="Verdana"/>
              </a:rPr>
              <a:t> </a:t>
            </a:r>
            <a:r>
              <a:rPr sz="1680" b="1" u="heavy" dirty="0">
                <a:solidFill>
                  <a:srgbClr val="404040"/>
                </a:solidFill>
                <a:uFill>
                  <a:solidFill>
                    <a:srgbClr val="404040"/>
                  </a:solidFill>
                </a:uFill>
                <a:latin typeface="Verdana"/>
                <a:cs typeface="Verdana"/>
              </a:rPr>
              <a:t>…</a:t>
            </a:r>
            <a:endParaRPr sz="1680" dirty="0">
              <a:latin typeface="Verdana"/>
              <a:cs typeface="Verdana"/>
            </a:endParaRPr>
          </a:p>
          <a:p>
            <a:pPr marL="567944" marR="99568" indent="-548640">
              <a:spcBef>
                <a:spcPts val="400"/>
              </a:spcBef>
              <a:buFont typeface="Arial"/>
              <a:buChar char="•"/>
              <a:tabLst>
                <a:tab pos="567944" algn="l"/>
                <a:tab pos="568960" algn="l"/>
              </a:tabLst>
            </a:pPr>
            <a:r>
              <a:rPr sz="1680" spc="-8" dirty="0">
                <a:solidFill>
                  <a:srgbClr val="404040"/>
                </a:solidFill>
                <a:latin typeface="Verdana"/>
                <a:cs typeface="Verdana"/>
              </a:rPr>
              <a:t>Uses </a:t>
            </a:r>
            <a:r>
              <a:rPr sz="1680" dirty="0">
                <a:solidFill>
                  <a:srgbClr val="404040"/>
                </a:solidFill>
                <a:latin typeface="Verdana"/>
                <a:cs typeface="Verdana"/>
              </a:rPr>
              <a:t>reusable</a:t>
            </a:r>
            <a:r>
              <a:rPr sz="1680" spc="-64" dirty="0">
                <a:solidFill>
                  <a:srgbClr val="404040"/>
                </a:solidFill>
                <a:latin typeface="Verdana"/>
                <a:cs typeface="Verdana"/>
              </a:rPr>
              <a:t> </a:t>
            </a:r>
            <a:r>
              <a:rPr sz="1680" spc="-8" dirty="0">
                <a:solidFill>
                  <a:srgbClr val="404040"/>
                </a:solidFill>
                <a:latin typeface="Verdana"/>
                <a:cs typeface="Verdana"/>
              </a:rPr>
              <a:t>accessories  </a:t>
            </a:r>
            <a:r>
              <a:rPr sz="1680" dirty="0">
                <a:solidFill>
                  <a:srgbClr val="404040"/>
                </a:solidFill>
                <a:latin typeface="Verdana"/>
                <a:cs typeface="Verdana"/>
              </a:rPr>
              <a:t>across </a:t>
            </a:r>
            <a:r>
              <a:rPr sz="1680" spc="-8" dirty="0">
                <a:solidFill>
                  <a:srgbClr val="404040"/>
                </a:solidFill>
                <a:latin typeface="Verdana"/>
                <a:cs typeface="Verdana"/>
              </a:rPr>
              <a:t>the</a:t>
            </a:r>
            <a:r>
              <a:rPr sz="1680" spc="-16" dirty="0">
                <a:solidFill>
                  <a:srgbClr val="404040"/>
                </a:solidFill>
                <a:latin typeface="Verdana"/>
                <a:cs typeface="Verdana"/>
              </a:rPr>
              <a:t> </a:t>
            </a:r>
            <a:r>
              <a:rPr sz="1680" dirty="0">
                <a:solidFill>
                  <a:srgbClr val="404040"/>
                </a:solidFill>
                <a:latin typeface="Verdana"/>
                <a:cs typeface="Verdana"/>
              </a:rPr>
              <a:t>hospital</a:t>
            </a:r>
            <a:endParaRPr sz="1680" dirty="0">
              <a:latin typeface="Verdana"/>
              <a:cs typeface="Verdana"/>
            </a:endParaRPr>
          </a:p>
          <a:p>
            <a:pPr marL="567944" marR="8128" indent="-548640">
              <a:spcBef>
                <a:spcPts val="400"/>
              </a:spcBef>
              <a:buFont typeface="Arial"/>
              <a:buChar char="•"/>
              <a:tabLst>
                <a:tab pos="567944" algn="l"/>
                <a:tab pos="568960" algn="l"/>
              </a:tabLst>
            </a:pPr>
            <a:r>
              <a:rPr sz="1680" dirty="0">
                <a:solidFill>
                  <a:srgbClr val="404040"/>
                </a:solidFill>
                <a:latin typeface="Verdana"/>
                <a:cs typeface="Verdana"/>
              </a:rPr>
              <a:t>Has no </a:t>
            </a:r>
            <a:r>
              <a:rPr sz="1680" spc="-8" dirty="0">
                <a:solidFill>
                  <a:srgbClr val="404040"/>
                </a:solidFill>
                <a:latin typeface="Verdana"/>
                <a:cs typeface="Verdana"/>
              </a:rPr>
              <a:t>SPU </a:t>
            </a:r>
            <a:r>
              <a:rPr sz="1680" dirty="0">
                <a:solidFill>
                  <a:srgbClr val="404040"/>
                </a:solidFill>
                <a:latin typeface="Verdana"/>
                <a:cs typeface="Verdana"/>
              </a:rPr>
              <a:t>vendors  calling on them nor</a:t>
            </a:r>
            <a:r>
              <a:rPr sz="1680" spc="-160" dirty="0">
                <a:solidFill>
                  <a:srgbClr val="404040"/>
                </a:solidFill>
                <a:latin typeface="Verdana"/>
                <a:cs typeface="Verdana"/>
              </a:rPr>
              <a:t> </a:t>
            </a:r>
            <a:r>
              <a:rPr sz="1680" dirty="0">
                <a:solidFill>
                  <a:srgbClr val="404040"/>
                </a:solidFill>
                <a:latin typeface="Verdana"/>
                <a:cs typeface="Verdana"/>
              </a:rPr>
              <a:t>having  any</a:t>
            </a:r>
            <a:r>
              <a:rPr sz="1680" spc="-8" dirty="0">
                <a:solidFill>
                  <a:srgbClr val="404040"/>
                </a:solidFill>
                <a:latin typeface="Verdana"/>
                <a:cs typeface="Verdana"/>
              </a:rPr>
              <a:t> success</a:t>
            </a:r>
            <a:endParaRPr sz="1680" dirty="0">
              <a:latin typeface="Verdana"/>
              <a:cs typeface="Verdana"/>
            </a:endParaRPr>
          </a:p>
          <a:p>
            <a:pPr marL="568960" indent="-548640">
              <a:spcBef>
                <a:spcPts val="406"/>
              </a:spcBef>
              <a:buFont typeface="Arial"/>
              <a:buChar char="•"/>
              <a:tabLst>
                <a:tab pos="567944" algn="l"/>
                <a:tab pos="568960" algn="l"/>
              </a:tabLst>
            </a:pPr>
            <a:r>
              <a:rPr sz="1680" spc="-8" dirty="0">
                <a:solidFill>
                  <a:srgbClr val="404040"/>
                </a:solidFill>
                <a:latin typeface="Verdana"/>
                <a:cs typeface="Verdana"/>
              </a:rPr>
              <a:t>Cares </a:t>
            </a:r>
            <a:r>
              <a:rPr sz="1680" dirty="0">
                <a:solidFill>
                  <a:srgbClr val="404040"/>
                </a:solidFill>
                <a:latin typeface="Verdana"/>
                <a:cs typeface="Verdana"/>
              </a:rPr>
              <a:t>more about</a:t>
            </a:r>
            <a:r>
              <a:rPr sz="1680" spc="-48" dirty="0">
                <a:solidFill>
                  <a:srgbClr val="404040"/>
                </a:solidFill>
                <a:latin typeface="Verdana"/>
                <a:cs typeface="Verdana"/>
              </a:rPr>
              <a:t> </a:t>
            </a:r>
            <a:r>
              <a:rPr sz="1680" spc="-8" dirty="0">
                <a:solidFill>
                  <a:srgbClr val="404040"/>
                </a:solidFill>
                <a:latin typeface="Verdana"/>
                <a:cs typeface="Verdana"/>
              </a:rPr>
              <a:t>waste</a:t>
            </a:r>
            <a:endParaRPr sz="1680" dirty="0">
              <a:latin typeface="Verdana"/>
              <a:cs typeface="Verdana"/>
            </a:endParaRPr>
          </a:p>
          <a:p>
            <a:pPr marL="567944"/>
            <a:r>
              <a:rPr sz="1680" spc="-8" dirty="0">
                <a:solidFill>
                  <a:srgbClr val="404040"/>
                </a:solidFill>
                <a:latin typeface="Verdana"/>
                <a:cs typeface="Verdana"/>
              </a:rPr>
              <a:t>management than</a:t>
            </a:r>
            <a:r>
              <a:rPr sz="1680" spc="-32" dirty="0">
                <a:solidFill>
                  <a:srgbClr val="404040"/>
                </a:solidFill>
                <a:latin typeface="Verdana"/>
                <a:cs typeface="Verdana"/>
              </a:rPr>
              <a:t> </a:t>
            </a:r>
            <a:r>
              <a:rPr sz="1680" dirty="0">
                <a:solidFill>
                  <a:srgbClr val="404040"/>
                </a:solidFill>
                <a:latin typeface="Verdana"/>
                <a:cs typeface="Verdana"/>
              </a:rPr>
              <a:t>HAI</a:t>
            </a:r>
            <a:endParaRPr sz="1680" dirty="0">
              <a:latin typeface="Verdana"/>
              <a:cs typeface="Verdan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2338018" y="5036515"/>
            <a:ext cx="2742182" cy="1569660"/>
          </a:xfrm>
          <a:prstGeom prst="rect">
            <a:avLst/>
          </a:prstGeom>
        </p:spPr>
        <p:txBody>
          <a:bodyPr vert="horz" wrap="square" lIns="0" tIns="71120" rIns="0" bIns="0" rtlCol="0">
            <a:spAutoFit/>
          </a:bodyPr>
          <a:lstStyle/>
          <a:p>
            <a:pPr marL="20320">
              <a:spcBef>
                <a:spcPts val="560"/>
              </a:spcBef>
            </a:pPr>
            <a:r>
              <a:rPr sz="1680" b="1" u="heavy" spc="-8" dirty="0">
                <a:solidFill>
                  <a:srgbClr val="404040"/>
                </a:solidFill>
                <a:uFill>
                  <a:solidFill>
                    <a:srgbClr val="404040"/>
                  </a:solidFill>
                </a:uFill>
                <a:latin typeface="Verdana"/>
                <a:cs typeface="Verdana"/>
              </a:rPr>
              <a:t>Promote reusable</a:t>
            </a:r>
            <a:r>
              <a:rPr sz="1680" b="1" u="heavy" dirty="0">
                <a:solidFill>
                  <a:srgbClr val="404040"/>
                </a:solidFill>
                <a:uFill>
                  <a:solidFill>
                    <a:srgbClr val="404040"/>
                  </a:solidFill>
                </a:uFill>
                <a:latin typeface="Verdana"/>
                <a:cs typeface="Verdana"/>
              </a:rPr>
              <a:t> </a:t>
            </a:r>
            <a:r>
              <a:rPr sz="1680" b="1" u="heavy" spc="-8" dirty="0">
                <a:solidFill>
                  <a:srgbClr val="404040"/>
                </a:solidFill>
                <a:uFill>
                  <a:solidFill>
                    <a:srgbClr val="404040"/>
                  </a:solidFill>
                </a:uFill>
                <a:latin typeface="Verdana"/>
                <a:cs typeface="Verdana"/>
              </a:rPr>
              <a:t>lws:</a:t>
            </a:r>
            <a:endParaRPr sz="1680">
              <a:latin typeface="Verdana"/>
              <a:cs typeface="Verdana"/>
            </a:endParaRPr>
          </a:p>
          <a:p>
            <a:pPr marL="568960" indent="-548640">
              <a:spcBef>
                <a:spcPts val="400"/>
              </a:spcBef>
              <a:buFont typeface="Arial"/>
              <a:buChar char="•"/>
              <a:tabLst>
                <a:tab pos="567944" algn="l"/>
                <a:tab pos="568960" algn="l"/>
              </a:tabLst>
            </a:pPr>
            <a:r>
              <a:rPr sz="1680" dirty="0">
                <a:solidFill>
                  <a:srgbClr val="404040"/>
                </a:solidFill>
                <a:latin typeface="Verdana"/>
                <a:cs typeface="Verdana"/>
              </a:rPr>
              <a:t>OR</a:t>
            </a:r>
            <a:endParaRPr sz="1680">
              <a:latin typeface="Verdana"/>
              <a:cs typeface="Verdana"/>
            </a:endParaRPr>
          </a:p>
          <a:p>
            <a:pPr marL="568960" indent="-548640">
              <a:spcBef>
                <a:spcPts val="406"/>
              </a:spcBef>
              <a:buFont typeface="Arial"/>
              <a:buChar char="•"/>
              <a:tabLst>
                <a:tab pos="567944" algn="l"/>
                <a:tab pos="568960" algn="l"/>
              </a:tabLst>
            </a:pPr>
            <a:r>
              <a:rPr sz="1680" dirty="0">
                <a:solidFill>
                  <a:srgbClr val="404040"/>
                </a:solidFill>
                <a:latin typeface="Verdana"/>
                <a:cs typeface="Verdana"/>
              </a:rPr>
              <a:t>ICU</a:t>
            </a:r>
            <a:endParaRPr sz="1680">
              <a:latin typeface="Verdana"/>
              <a:cs typeface="Verdana"/>
            </a:endParaRPr>
          </a:p>
          <a:p>
            <a:pPr marL="568960" indent="-548640">
              <a:spcBef>
                <a:spcPts val="400"/>
              </a:spcBef>
              <a:buFont typeface="Arial"/>
              <a:buChar char="•"/>
              <a:tabLst>
                <a:tab pos="567944" algn="l"/>
                <a:tab pos="568960" algn="l"/>
              </a:tabLst>
            </a:pPr>
            <a:r>
              <a:rPr sz="1680" dirty="0">
                <a:solidFill>
                  <a:srgbClr val="404040"/>
                </a:solidFill>
                <a:latin typeface="Verdana"/>
                <a:cs typeface="Verdana"/>
              </a:rPr>
              <a:t>ER</a:t>
            </a:r>
            <a:endParaRPr sz="1680">
              <a:latin typeface="Verdana"/>
              <a:cs typeface="Verdana"/>
            </a:endParaRPr>
          </a:p>
          <a:p>
            <a:pPr marL="568960" indent="-548640">
              <a:spcBef>
                <a:spcPts val="406"/>
              </a:spcBef>
              <a:buFont typeface="Arial"/>
              <a:buChar char="•"/>
              <a:tabLst>
                <a:tab pos="567944" algn="l"/>
                <a:tab pos="568960" algn="l"/>
              </a:tabLst>
            </a:pPr>
            <a:r>
              <a:rPr sz="1680" spc="-8" dirty="0">
                <a:solidFill>
                  <a:srgbClr val="404040"/>
                </a:solidFill>
                <a:latin typeface="Verdana"/>
                <a:cs typeface="Verdana"/>
              </a:rPr>
              <a:t>Biomed</a:t>
            </a:r>
            <a:endParaRPr sz="1680">
              <a:latin typeface="Verdana"/>
              <a:cs typeface="Verdana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8782710" y="1336649"/>
            <a:ext cx="2361184" cy="279051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20320">
              <a:spcBef>
                <a:spcPts val="160"/>
              </a:spcBef>
            </a:pPr>
            <a:r>
              <a:rPr sz="1680" b="1" u="heavy" dirty="0">
                <a:solidFill>
                  <a:srgbClr val="404040"/>
                </a:solidFill>
                <a:uFill>
                  <a:solidFill>
                    <a:srgbClr val="404040"/>
                  </a:solidFill>
                </a:uFill>
                <a:latin typeface="Verdana"/>
                <a:cs typeface="Verdana"/>
              </a:rPr>
              <a:t>If your </a:t>
            </a:r>
            <a:r>
              <a:rPr sz="1680" b="1" u="heavy" spc="-8" dirty="0">
                <a:solidFill>
                  <a:srgbClr val="404040"/>
                </a:solidFill>
                <a:uFill>
                  <a:solidFill>
                    <a:srgbClr val="404040"/>
                  </a:solidFill>
                </a:uFill>
                <a:latin typeface="Verdana"/>
                <a:cs typeface="Verdana"/>
              </a:rPr>
              <a:t>customer</a:t>
            </a:r>
            <a:r>
              <a:rPr sz="1680" b="1" u="heavy" spc="-72" dirty="0">
                <a:solidFill>
                  <a:srgbClr val="404040"/>
                </a:solidFill>
                <a:uFill>
                  <a:solidFill>
                    <a:srgbClr val="404040"/>
                  </a:solidFill>
                </a:uFill>
                <a:latin typeface="Verdana"/>
                <a:cs typeface="Verdana"/>
              </a:rPr>
              <a:t> </a:t>
            </a:r>
            <a:r>
              <a:rPr sz="1680" b="1" u="heavy" dirty="0">
                <a:solidFill>
                  <a:srgbClr val="404040"/>
                </a:solidFill>
                <a:uFill>
                  <a:solidFill>
                    <a:srgbClr val="404040"/>
                  </a:solidFill>
                </a:uFill>
                <a:latin typeface="Verdana"/>
                <a:cs typeface="Verdana"/>
              </a:rPr>
              <a:t>…</a:t>
            </a:r>
            <a:endParaRPr sz="1680">
              <a:latin typeface="Verdana"/>
              <a:cs typeface="Verdana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8782710" y="2104745"/>
            <a:ext cx="115824" cy="588879"/>
          </a:xfrm>
          <a:prstGeom prst="rect">
            <a:avLst/>
          </a:prstGeom>
        </p:spPr>
        <p:txBody>
          <a:bodyPr vert="horz" wrap="square" lIns="0" tIns="45720" rIns="0" bIns="0" rtlCol="0">
            <a:spAutoFit/>
          </a:bodyPr>
          <a:lstStyle/>
          <a:p>
            <a:pPr marL="20320">
              <a:spcBef>
                <a:spcPts val="360"/>
              </a:spcBef>
            </a:pPr>
            <a:r>
              <a:rPr sz="1680" dirty="0">
                <a:solidFill>
                  <a:srgbClr val="404040"/>
                </a:solidFill>
              </a:rPr>
              <a:t>•</a:t>
            </a:r>
            <a:endParaRPr sz="1680"/>
          </a:p>
          <a:p>
            <a:pPr marL="20320">
              <a:spcBef>
                <a:spcPts val="200"/>
              </a:spcBef>
            </a:pPr>
            <a:r>
              <a:rPr sz="1680" dirty="0">
                <a:solidFill>
                  <a:srgbClr val="404040"/>
                </a:solidFill>
              </a:rPr>
              <a:t>•</a:t>
            </a:r>
            <a:endParaRPr sz="1680"/>
          </a:p>
        </p:txBody>
      </p:sp>
      <p:sp>
        <p:nvSpPr>
          <p:cNvPr id="10" name="object 10"/>
          <p:cNvSpPr txBox="1"/>
          <p:nvPr/>
        </p:nvSpPr>
        <p:spPr>
          <a:xfrm>
            <a:off x="8782710" y="2924046"/>
            <a:ext cx="115824" cy="279051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20320">
              <a:spcBef>
                <a:spcPts val="160"/>
              </a:spcBef>
            </a:pPr>
            <a:r>
              <a:rPr sz="1680" dirty="0">
                <a:solidFill>
                  <a:srgbClr val="404040"/>
                </a:solidFill>
              </a:rPr>
              <a:t>•</a:t>
            </a:r>
            <a:endParaRPr sz="1680"/>
          </a:p>
        </p:txBody>
      </p:sp>
      <p:sp>
        <p:nvSpPr>
          <p:cNvPr id="11" name="object 11"/>
          <p:cNvSpPr txBox="1"/>
          <p:nvPr/>
        </p:nvSpPr>
        <p:spPr>
          <a:xfrm>
            <a:off x="8782710" y="3435705"/>
            <a:ext cx="115824" cy="279051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20320">
              <a:spcBef>
                <a:spcPts val="160"/>
              </a:spcBef>
            </a:pPr>
            <a:r>
              <a:rPr sz="1680" dirty="0">
                <a:solidFill>
                  <a:srgbClr val="404040"/>
                </a:solidFill>
              </a:rPr>
              <a:t>•</a:t>
            </a:r>
            <a:endParaRPr sz="1680"/>
          </a:p>
        </p:txBody>
      </p:sp>
      <p:sp>
        <p:nvSpPr>
          <p:cNvPr id="12" name="object 12"/>
          <p:cNvSpPr txBox="1"/>
          <p:nvPr/>
        </p:nvSpPr>
        <p:spPr>
          <a:xfrm>
            <a:off x="8782710" y="3948582"/>
            <a:ext cx="115824" cy="279051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20320">
              <a:spcBef>
                <a:spcPts val="160"/>
              </a:spcBef>
            </a:pPr>
            <a:r>
              <a:rPr sz="1680" dirty="0">
                <a:solidFill>
                  <a:srgbClr val="404040"/>
                </a:solidFill>
              </a:rPr>
              <a:t>•</a:t>
            </a:r>
            <a:endParaRPr sz="1680"/>
          </a:p>
        </p:txBody>
      </p:sp>
      <p:sp>
        <p:nvSpPr>
          <p:cNvPr id="13" name="object 13"/>
          <p:cNvSpPr txBox="1"/>
          <p:nvPr/>
        </p:nvSpPr>
        <p:spPr>
          <a:xfrm>
            <a:off x="8782711" y="1618285"/>
            <a:ext cx="3658616" cy="2565831"/>
          </a:xfrm>
          <a:prstGeom prst="rect">
            <a:avLst/>
          </a:prstGeom>
        </p:spPr>
        <p:txBody>
          <a:bodyPr vert="horz" wrap="square" lIns="0" tIns="49784" rIns="0" bIns="0" rtlCol="0">
            <a:spAutoFit/>
          </a:bodyPr>
          <a:lstStyle/>
          <a:p>
            <a:pPr marL="568960" marR="81280" indent="-548640">
              <a:lnSpc>
                <a:spcPts val="1808"/>
              </a:lnSpc>
              <a:spcBef>
                <a:spcPts val="392"/>
              </a:spcBef>
              <a:buFont typeface="Arial"/>
              <a:buChar char="•"/>
              <a:tabLst>
                <a:tab pos="567944" algn="l"/>
                <a:tab pos="568960" algn="l"/>
              </a:tabLst>
            </a:pPr>
            <a:r>
              <a:rPr sz="1680" spc="-8" dirty="0">
                <a:solidFill>
                  <a:srgbClr val="404040"/>
                </a:solidFill>
                <a:latin typeface="Verdana"/>
                <a:cs typeface="Verdana"/>
              </a:rPr>
              <a:t>Uses disposable accessories  </a:t>
            </a:r>
            <a:r>
              <a:rPr sz="1680" dirty="0">
                <a:solidFill>
                  <a:srgbClr val="404040"/>
                </a:solidFill>
                <a:latin typeface="Verdana"/>
                <a:cs typeface="Verdana"/>
              </a:rPr>
              <a:t>across </a:t>
            </a:r>
            <a:r>
              <a:rPr sz="1680" spc="-8" dirty="0">
                <a:solidFill>
                  <a:srgbClr val="404040"/>
                </a:solidFill>
                <a:latin typeface="Verdana"/>
                <a:cs typeface="Verdana"/>
              </a:rPr>
              <a:t>the </a:t>
            </a:r>
            <a:r>
              <a:rPr sz="1680" dirty="0">
                <a:solidFill>
                  <a:srgbClr val="404040"/>
                </a:solidFill>
                <a:latin typeface="Verdana"/>
                <a:cs typeface="Verdana"/>
              </a:rPr>
              <a:t>hospital</a:t>
            </a:r>
            <a:endParaRPr sz="1680" dirty="0">
              <a:latin typeface="Verdana"/>
              <a:cs typeface="Verdana"/>
            </a:endParaRPr>
          </a:p>
          <a:p>
            <a:pPr marL="568960">
              <a:spcBef>
                <a:spcPts val="184"/>
              </a:spcBef>
            </a:pPr>
            <a:r>
              <a:rPr sz="1680" spc="-8" dirty="0">
                <a:solidFill>
                  <a:srgbClr val="404040"/>
                </a:solidFill>
                <a:latin typeface="Verdana"/>
                <a:cs typeface="Verdana"/>
              </a:rPr>
              <a:t>Uses disposable</a:t>
            </a:r>
            <a:r>
              <a:rPr sz="1680" spc="8" dirty="0">
                <a:solidFill>
                  <a:srgbClr val="404040"/>
                </a:solidFill>
                <a:latin typeface="Verdana"/>
                <a:cs typeface="Verdana"/>
              </a:rPr>
              <a:t> </a:t>
            </a:r>
            <a:r>
              <a:rPr sz="1680" spc="-8" dirty="0">
                <a:solidFill>
                  <a:srgbClr val="404040"/>
                </a:solidFill>
                <a:latin typeface="Verdana"/>
                <a:cs typeface="Verdana"/>
              </a:rPr>
              <a:t>electrodes</a:t>
            </a:r>
            <a:endParaRPr sz="1680" dirty="0">
              <a:latin typeface="Verdana"/>
              <a:cs typeface="Verdana"/>
            </a:endParaRPr>
          </a:p>
          <a:p>
            <a:pPr marL="568960" marR="239776">
              <a:lnSpc>
                <a:spcPts val="1808"/>
              </a:lnSpc>
              <a:spcBef>
                <a:spcPts val="416"/>
              </a:spcBef>
            </a:pPr>
            <a:r>
              <a:rPr sz="1680" dirty="0">
                <a:solidFill>
                  <a:srgbClr val="404040"/>
                </a:solidFill>
                <a:latin typeface="Verdana"/>
                <a:cs typeface="Verdana"/>
              </a:rPr>
              <a:t>Sees </a:t>
            </a:r>
            <a:r>
              <a:rPr sz="1680" spc="-8" dirty="0">
                <a:solidFill>
                  <a:srgbClr val="404040"/>
                </a:solidFill>
                <a:latin typeface="Verdana"/>
                <a:cs typeface="Verdana"/>
              </a:rPr>
              <a:t>infection </a:t>
            </a:r>
            <a:r>
              <a:rPr sz="1680" dirty="0">
                <a:solidFill>
                  <a:srgbClr val="404040"/>
                </a:solidFill>
                <a:latin typeface="Verdana"/>
                <a:cs typeface="Verdana"/>
              </a:rPr>
              <a:t>control as</a:t>
            </a:r>
            <a:r>
              <a:rPr sz="1680" spc="-88" dirty="0">
                <a:solidFill>
                  <a:srgbClr val="404040"/>
                </a:solidFill>
                <a:latin typeface="Verdana"/>
                <a:cs typeface="Verdana"/>
              </a:rPr>
              <a:t> </a:t>
            </a:r>
            <a:r>
              <a:rPr sz="1680" dirty="0">
                <a:solidFill>
                  <a:srgbClr val="404040"/>
                </a:solidFill>
                <a:latin typeface="Verdana"/>
                <a:cs typeface="Verdana"/>
              </a:rPr>
              <a:t>a  priority</a:t>
            </a:r>
            <a:endParaRPr sz="1680" dirty="0">
              <a:latin typeface="Verdana"/>
              <a:cs typeface="Verdana"/>
            </a:endParaRPr>
          </a:p>
          <a:p>
            <a:pPr marL="568960">
              <a:lnSpc>
                <a:spcPts val="1920"/>
              </a:lnSpc>
              <a:spcBef>
                <a:spcPts val="182"/>
              </a:spcBef>
            </a:pPr>
            <a:r>
              <a:rPr sz="1680" spc="-8" dirty="0">
                <a:solidFill>
                  <a:srgbClr val="404040"/>
                </a:solidFill>
                <a:latin typeface="Verdana"/>
                <a:cs typeface="Verdana"/>
              </a:rPr>
              <a:t>Has </a:t>
            </a:r>
            <a:r>
              <a:rPr sz="1680" dirty="0">
                <a:solidFill>
                  <a:srgbClr val="404040"/>
                </a:solidFill>
                <a:latin typeface="Verdana"/>
                <a:cs typeface="Verdana"/>
              </a:rPr>
              <a:t>known </a:t>
            </a:r>
            <a:r>
              <a:rPr sz="1680" spc="-8" dirty="0">
                <a:solidFill>
                  <a:srgbClr val="404040"/>
                </a:solidFill>
                <a:latin typeface="Verdana"/>
                <a:cs typeface="Verdana"/>
              </a:rPr>
              <a:t>infection</a:t>
            </a:r>
            <a:r>
              <a:rPr sz="1680" spc="-48" dirty="0">
                <a:solidFill>
                  <a:srgbClr val="404040"/>
                </a:solidFill>
                <a:latin typeface="Verdana"/>
                <a:cs typeface="Verdana"/>
              </a:rPr>
              <a:t> </a:t>
            </a:r>
            <a:r>
              <a:rPr sz="1680" dirty="0">
                <a:solidFill>
                  <a:srgbClr val="404040"/>
                </a:solidFill>
                <a:latin typeface="Verdana"/>
                <a:cs typeface="Verdana"/>
              </a:rPr>
              <a:t>control</a:t>
            </a:r>
            <a:endParaRPr sz="1680" dirty="0">
              <a:latin typeface="Verdana"/>
              <a:cs typeface="Verdana"/>
            </a:endParaRPr>
          </a:p>
          <a:p>
            <a:pPr marL="568960">
              <a:lnSpc>
                <a:spcPts val="1920"/>
              </a:lnSpc>
            </a:pPr>
            <a:r>
              <a:rPr sz="1680" spc="-8" dirty="0">
                <a:solidFill>
                  <a:srgbClr val="404040"/>
                </a:solidFill>
                <a:latin typeface="Verdana"/>
                <a:cs typeface="Verdana"/>
              </a:rPr>
              <a:t>issues</a:t>
            </a:r>
            <a:endParaRPr sz="1680" dirty="0">
              <a:latin typeface="Verdana"/>
              <a:cs typeface="Verdana"/>
            </a:endParaRPr>
          </a:p>
          <a:p>
            <a:pPr marL="568960" marR="327152">
              <a:lnSpc>
                <a:spcPts val="1808"/>
              </a:lnSpc>
              <a:spcBef>
                <a:spcPts val="432"/>
              </a:spcBef>
            </a:pPr>
            <a:r>
              <a:rPr sz="1680" spc="-8" dirty="0">
                <a:solidFill>
                  <a:srgbClr val="404040"/>
                </a:solidFill>
                <a:latin typeface="Verdana"/>
                <a:cs typeface="Verdana"/>
              </a:rPr>
              <a:t>Uses disposable blood  pressure </a:t>
            </a:r>
            <a:r>
              <a:rPr sz="1680" dirty="0">
                <a:solidFill>
                  <a:srgbClr val="404040"/>
                </a:solidFill>
                <a:latin typeface="Verdana"/>
                <a:cs typeface="Verdana"/>
              </a:rPr>
              <a:t>cuffs </a:t>
            </a:r>
            <a:r>
              <a:rPr sz="1680" spc="-8" dirty="0">
                <a:solidFill>
                  <a:srgbClr val="404040"/>
                </a:solidFill>
                <a:latin typeface="Verdana"/>
                <a:cs typeface="Verdana"/>
              </a:rPr>
              <a:t>in isolation  </a:t>
            </a:r>
            <a:r>
              <a:rPr sz="1680" dirty="0">
                <a:solidFill>
                  <a:srgbClr val="404040"/>
                </a:solidFill>
                <a:latin typeface="Verdana"/>
                <a:cs typeface="Verdana"/>
              </a:rPr>
              <a:t>units/ OR /</a:t>
            </a:r>
            <a:r>
              <a:rPr sz="1680" spc="-56" dirty="0">
                <a:solidFill>
                  <a:srgbClr val="404040"/>
                </a:solidFill>
                <a:latin typeface="Verdana"/>
                <a:cs typeface="Verdana"/>
              </a:rPr>
              <a:t> </a:t>
            </a:r>
            <a:r>
              <a:rPr sz="1680" spc="-8" dirty="0">
                <a:solidFill>
                  <a:srgbClr val="404040"/>
                </a:solidFill>
                <a:latin typeface="Verdana"/>
                <a:cs typeface="Verdana"/>
              </a:rPr>
              <a:t>ICU</a:t>
            </a:r>
            <a:endParaRPr sz="1680" dirty="0">
              <a:latin typeface="Verdana"/>
              <a:cs typeface="Verdana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8792871" y="4484216"/>
            <a:ext cx="3384498" cy="50474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5" name="object 15"/>
          <p:cNvSpPr txBox="1"/>
          <p:nvPr/>
        </p:nvSpPr>
        <p:spPr>
          <a:xfrm>
            <a:off x="8782710" y="5087723"/>
            <a:ext cx="2188464" cy="279051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20320">
              <a:spcBef>
                <a:spcPts val="160"/>
              </a:spcBef>
            </a:pPr>
            <a:r>
              <a:rPr sz="1680" b="1" u="heavy" spc="-8" dirty="0">
                <a:solidFill>
                  <a:srgbClr val="404040"/>
                </a:solidFill>
                <a:uFill>
                  <a:solidFill>
                    <a:srgbClr val="404040"/>
                  </a:solidFill>
                </a:uFill>
                <a:latin typeface="Verdana"/>
                <a:cs typeface="Verdana"/>
              </a:rPr>
              <a:t>Promote SPU</a:t>
            </a:r>
            <a:r>
              <a:rPr sz="1680" b="1" u="heavy" spc="-24" dirty="0">
                <a:solidFill>
                  <a:srgbClr val="404040"/>
                </a:solidFill>
                <a:uFill>
                  <a:solidFill>
                    <a:srgbClr val="404040"/>
                  </a:solidFill>
                </a:uFill>
                <a:latin typeface="Verdana"/>
                <a:cs typeface="Verdana"/>
              </a:rPr>
              <a:t> </a:t>
            </a:r>
            <a:r>
              <a:rPr sz="1680" b="1" u="heavy" spc="-8" dirty="0">
                <a:solidFill>
                  <a:srgbClr val="404040"/>
                </a:solidFill>
                <a:uFill>
                  <a:solidFill>
                    <a:srgbClr val="404040"/>
                  </a:solidFill>
                </a:uFill>
                <a:latin typeface="Verdana"/>
                <a:cs typeface="Verdana"/>
              </a:rPr>
              <a:t>lws:</a:t>
            </a:r>
            <a:endParaRPr sz="1680">
              <a:latin typeface="Verdana"/>
              <a:cs typeface="Verdan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8782710" y="5343754"/>
            <a:ext cx="3879088" cy="1569660"/>
          </a:xfrm>
          <a:prstGeom prst="rect">
            <a:avLst/>
          </a:prstGeom>
        </p:spPr>
        <p:txBody>
          <a:bodyPr vert="horz" wrap="square" lIns="0" tIns="71120" rIns="0" bIns="0" rtlCol="0">
            <a:spAutoFit/>
          </a:bodyPr>
          <a:lstStyle/>
          <a:p>
            <a:pPr marL="568960" indent="-548640">
              <a:spcBef>
                <a:spcPts val="560"/>
              </a:spcBef>
              <a:buFont typeface="Arial"/>
              <a:buChar char="•"/>
              <a:tabLst>
                <a:tab pos="567944" algn="l"/>
                <a:tab pos="568960" algn="l"/>
              </a:tabLst>
            </a:pPr>
            <a:r>
              <a:rPr sz="1680" dirty="0">
                <a:solidFill>
                  <a:srgbClr val="404040"/>
                </a:solidFill>
                <a:latin typeface="Verdana"/>
                <a:cs typeface="Verdana"/>
              </a:rPr>
              <a:t>Burn / </a:t>
            </a:r>
            <a:r>
              <a:rPr sz="1680" spc="-8" dirty="0">
                <a:solidFill>
                  <a:srgbClr val="404040"/>
                </a:solidFill>
                <a:latin typeface="Verdana"/>
                <a:cs typeface="Verdana"/>
              </a:rPr>
              <a:t>trauma</a:t>
            </a:r>
            <a:r>
              <a:rPr sz="1680" spc="-32" dirty="0">
                <a:solidFill>
                  <a:srgbClr val="404040"/>
                </a:solidFill>
                <a:latin typeface="Verdana"/>
                <a:cs typeface="Verdana"/>
              </a:rPr>
              <a:t> </a:t>
            </a:r>
            <a:r>
              <a:rPr sz="1680" dirty="0">
                <a:solidFill>
                  <a:srgbClr val="404040"/>
                </a:solidFill>
                <a:latin typeface="Verdana"/>
                <a:cs typeface="Verdana"/>
              </a:rPr>
              <a:t>units</a:t>
            </a:r>
            <a:endParaRPr sz="1680">
              <a:latin typeface="Verdana"/>
              <a:cs typeface="Verdana"/>
            </a:endParaRPr>
          </a:p>
          <a:p>
            <a:pPr marL="568960" indent="-548640">
              <a:spcBef>
                <a:spcPts val="406"/>
              </a:spcBef>
              <a:buFont typeface="Arial"/>
              <a:buChar char="•"/>
              <a:tabLst>
                <a:tab pos="567944" algn="l"/>
                <a:tab pos="568960" algn="l"/>
              </a:tabLst>
            </a:pPr>
            <a:r>
              <a:rPr sz="1680" spc="-8" dirty="0">
                <a:solidFill>
                  <a:srgbClr val="404040"/>
                </a:solidFill>
                <a:latin typeface="Verdana"/>
                <a:cs typeface="Verdana"/>
              </a:rPr>
              <a:t>Open heart </a:t>
            </a:r>
            <a:r>
              <a:rPr sz="1680" dirty="0">
                <a:solidFill>
                  <a:srgbClr val="404040"/>
                </a:solidFill>
                <a:latin typeface="Verdana"/>
                <a:cs typeface="Verdana"/>
              </a:rPr>
              <a:t>unit /</a:t>
            </a:r>
            <a:r>
              <a:rPr sz="1680" spc="-16" dirty="0">
                <a:solidFill>
                  <a:srgbClr val="404040"/>
                </a:solidFill>
                <a:latin typeface="Verdana"/>
                <a:cs typeface="Verdana"/>
              </a:rPr>
              <a:t> </a:t>
            </a:r>
            <a:r>
              <a:rPr sz="1680" dirty="0">
                <a:solidFill>
                  <a:srgbClr val="404040"/>
                </a:solidFill>
                <a:latin typeface="Verdana"/>
                <a:cs typeface="Verdana"/>
              </a:rPr>
              <a:t>ICU</a:t>
            </a:r>
            <a:endParaRPr sz="1680">
              <a:latin typeface="Verdana"/>
              <a:cs typeface="Verdana"/>
            </a:endParaRPr>
          </a:p>
          <a:p>
            <a:pPr marL="568960" indent="-548640">
              <a:spcBef>
                <a:spcPts val="400"/>
              </a:spcBef>
              <a:buFont typeface="Arial"/>
              <a:buChar char="•"/>
              <a:tabLst>
                <a:tab pos="567944" algn="l"/>
                <a:tab pos="568960" algn="l"/>
              </a:tabLst>
            </a:pPr>
            <a:r>
              <a:rPr sz="1680" spc="-8" dirty="0">
                <a:solidFill>
                  <a:srgbClr val="404040"/>
                </a:solidFill>
                <a:latin typeface="Verdana"/>
                <a:cs typeface="Verdana"/>
              </a:rPr>
              <a:t>Too busy </a:t>
            </a:r>
            <a:r>
              <a:rPr sz="1680" dirty="0">
                <a:solidFill>
                  <a:srgbClr val="404040"/>
                </a:solidFill>
                <a:latin typeface="Verdana"/>
                <a:cs typeface="Verdana"/>
              </a:rPr>
              <a:t>units </a:t>
            </a:r>
            <a:r>
              <a:rPr sz="1680" spc="-8" dirty="0">
                <a:solidFill>
                  <a:srgbClr val="404040"/>
                </a:solidFill>
                <a:latin typeface="Verdana"/>
                <a:cs typeface="Verdana"/>
              </a:rPr>
              <a:t>(e.g. ER, OR)</a:t>
            </a:r>
            <a:endParaRPr sz="1680">
              <a:latin typeface="Verdana"/>
              <a:cs typeface="Verdana"/>
            </a:endParaRPr>
          </a:p>
          <a:p>
            <a:pPr marL="568960" indent="-548640">
              <a:spcBef>
                <a:spcPts val="400"/>
              </a:spcBef>
              <a:buFont typeface="Arial"/>
              <a:buChar char="•"/>
              <a:tabLst>
                <a:tab pos="567944" algn="l"/>
                <a:tab pos="568960" algn="l"/>
              </a:tabLst>
            </a:pPr>
            <a:r>
              <a:rPr sz="1680" dirty="0">
                <a:solidFill>
                  <a:srgbClr val="404040"/>
                </a:solidFill>
                <a:latin typeface="Verdana"/>
                <a:cs typeface="Verdana"/>
              </a:rPr>
              <a:t>Units </a:t>
            </a:r>
            <a:r>
              <a:rPr sz="1680" spc="-8" dirty="0">
                <a:solidFill>
                  <a:srgbClr val="404040"/>
                </a:solidFill>
                <a:latin typeface="Verdana"/>
                <a:cs typeface="Verdana"/>
              </a:rPr>
              <a:t>with </a:t>
            </a:r>
            <a:r>
              <a:rPr sz="1680" dirty="0">
                <a:solidFill>
                  <a:srgbClr val="404040"/>
                </a:solidFill>
                <a:latin typeface="Verdana"/>
                <a:cs typeface="Verdana"/>
              </a:rPr>
              <a:t>many </a:t>
            </a:r>
            <a:r>
              <a:rPr sz="1680" spc="-8" dirty="0">
                <a:solidFill>
                  <a:srgbClr val="404040"/>
                </a:solidFill>
                <a:latin typeface="Verdana"/>
                <a:cs typeface="Verdana"/>
              </a:rPr>
              <a:t>lost</a:t>
            </a:r>
            <a:r>
              <a:rPr sz="1680" spc="-112" dirty="0">
                <a:solidFill>
                  <a:srgbClr val="404040"/>
                </a:solidFill>
                <a:latin typeface="Verdana"/>
                <a:cs typeface="Verdana"/>
              </a:rPr>
              <a:t> </a:t>
            </a:r>
            <a:r>
              <a:rPr sz="1680" spc="-8" dirty="0">
                <a:solidFill>
                  <a:srgbClr val="404040"/>
                </a:solidFill>
                <a:latin typeface="Verdana"/>
                <a:cs typeface="Verdana"/>
              </a:rPr>
              <a:t>leadwires</a:t>
            </a:r>
            <a:endParaRPr sz="1680">
              <a:latin typeface="Verdana"/>
              <a:cs typeface="Verdana"/>
            </a:endParaRPr>
          </a:p>
          <a:p>
            <a:pPr marL="568960" indent="-548640">
              <a:spcBef>
                <a:spcPts val="406"/>
              </a:spcBef>
              <a:buFont typeface="Arial"/>
              <a:buChar char="•"/>
              <a:tabLst>
                <a:tab pos="567944" algn="l"/>
                <a:tab pos="568960" algn="l"/>
              </a:tabLst>
            </a:pPr>
            <a:r>
              <a:rPr sz="1680" dirty="0">
                <a:solidFill>
                  <a:srgbClr val="404040"/>
                </a:solidFill>
                <a:latin typeface="Verdana"/>
                <a:cs typeface="Verdana"/>
              </a:rPr>
              <a:t>Units </a:t>
            </a:r>
            <a:r>
              <a:rPr sz="1680" spc="-8" dirty="0">
                <a:solidFill>
                  <a:srgbClr val="404040"/>
                </a:solidFill>
                <a:latin typeface="Verdana"/>
                <a:cs typeface="Verdana"/>
              </a:rPr>
              <a:t>interested in </a:t>
            </a:r>
            <a:r>
              <a:rPr sz="1680" dirty="0">
                <a:solidFill>
                  <a:srgbClr val="404040"/>
                </a:solidFill>
                <a:latin typeface="Verdana"/>
                <a:cs typeface="Verdana"/>
              </a:rPr>
              <a:t>HAI</a:t>
            </a:r>
            <a:r>
              <a:rPr sz="1680" spc="-144" dirty="0">
                <a:solidFill>
                  <a:srgbClr val="404040"/>
                </a:solidFill>
                <a:latin typeface="Verdana"/>
                <a:cs typeface="Verdana"/>
              </a:rPr>
              <a:t> </a:t>
            </a:r>
            <a:r>
              <a:rPr sz="1680" dirty="0">
                <a:solidFill>
                  <a:srgbClr val="404040"/>
                </a:solidFill>
                <a:latin typeface="Verdana"/>
                <a:cs typeface="Verdana"/>
              </a:rPr>
              <a:t>control</a:t>
            </a:r>
            <a:endParaRPr sz="1680">
              <a:latin typeface="Verdana"/>
              <a:cs typeface="Verdana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6566611" y="1513026"/>
            <a:ext cx="1497178" cy="67299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8" name="object 18"/>
          <p:cNvSpPr/>
          <p:nvPr/>
        </p:nvSpPr>
        <p:spPr>
          <a:xfrm>
            <a:off x="6521502" y="2216910"/>
            <a:ext cx="1588008" cy="0"/>
          </a:xfrm>
          <a:custGeom>
            <a:avLst/>
            <a:gdLst/>
            <a:ahLst/>
            <a:cxnLst/>
            <a:rect l="l" t="t" r="r" b="b"/>
            <a:pathLst>
              <a:path w="992504">
                <a:moveTo>
                  <a:pt x="0" y="0"/>
                </a:moveTo>
                <a:lnTo>
                  <a:pt x="992124" y="0"/>
                </a:lnTo>
              </a:path>
            </a:pathLst>
          </a:custGeom>
          <a:ln w="1778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9" name="object 19"/>
          <p:cNvSpPr/>
          <p:nvPr/>
        </p:nvSpPr>
        <p:spPr>
          <a:xfrm>
            <a:off x="6535419" y="1495551"/>
            <a:ext cx="0" cy="707134"/>
          </a:xfrm>
          <a:custGeom>
            <a:avLst/>
            <a:gdLst/>
            <a:ahLst/>
            <a:cxnLst/>
            <a:rect l="l" t="t" r="r" b="b"/>
            <a:pathLst>
              <a:path h="441959">
                <a:moveTo>
                  <a:pt x="0" y="0"/>
                </a:moveTo>
                <a:lnTo>
                  <a:pt x="0" y="441960"/>
                </a:lnTo>
              </a:path>
            </a:pathLst>
          </a:custGeom>
          <a:ln w="1739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20" name="object 20"/>
          <p:cNvSpPr/>
          <p:nvPr/>
        </p:nvSpPr>
        <p:spPr>
          <a:xfrm>
            <a:off x="6521502" y="1481328"/>
            <a:ext cx="1588008" cy="0"/>
          </a:xfrm>
          <a:custGeom>
            <a:avLst/>
            <a:gdLst/>
            <a:ahLst/>
            <a:cxnLst/>
            <a:rect l="l" t="t" r="r" b="b"/>
            <a:pathLst>
              <a:path w="992504">
                <a:moveTo>
                  <a:pt x="0" y="0"/>
                </a:moveTo>
                <a:lnTo>
                  <a:pt x="992124" y="0"/>
                </a:lnTo>
              </a:path>
            </a:pathLst>
          </a:custGeom>
          <a:ln w="1777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21" name="object 21"/>
          <p:cNvSpPr/>
          <p:nvPr/>
        </p:nvSpPr>
        <p:spPr>
          <a:xfrm>
            <a:off x="8094979" y="1495756"/>
            <a:ext cx="0" cy="708152"/>
          </a:xfrm>
          <a:custGeom>
            <a:avLst/>
            <a:gdLst/>
            <a:ahLst/>
            <a:cxnLst/>
            <a:rect l="l" t="t" r="r" b="b"/>
            <a:pathLst>
              <a:path h="442594">
                <a:moveTo>
                  <a:pt x="0" y="0"/>
                </a:moveTo>
                <a:lnTo>
                  <a:pt x="0" y="442213"/>
                </a:lnTo>
              </a:path>
            </a:pathLst>
          </a:custGeom>
          <a:ln w="1739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22" name="object 22"/>
          <p:cNvSpPr/>
          <p:nvPr/>
        </p:nvSpPr>
        <p:spPr>
          <a:xfrm>
            <a:off x="6558483" y="2189480"/>
            <a:ext cx="1513840" cy="0"/>
          </a:xfrm>
          <a:custGeom>
            <a:avLst/>
            <a:gdLst/>
            <a:ahLst/>
            <a:cxnLst/>
            <a:rect l="l" t="t" r="r" b="b"/>
            <a:pathLst>
              <a:path w="946150">
                <a:moveTo>
                  <a:pt x="0" y="0"/>
                </a:moveTo>
                <a:lnTo>
                  <a:pt x="945896" y="0"/>
                </a:lnTo>
              </a:path>
            </a:pathLst>
          </a:custGeom>
          <a:ln w="635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23" name="object 23"/>
          <p:cNvSpPr/>
          <p:nvPr/>
        </p:nvSpPr>
        <p:spPr>
          <a:xfrm>
            <a:off x="6563155" y="1513840"/>
            <a:ext cx="0" cy="670560"/>
          </a:xfrm>
          <a:custGeom>
            <a:avLst/>
            <a:gdLst/>
            <a:ahLst/>
            <a:cxnLst/>
            <a:rect l="l" t="t" r="r" b="b"/>
            <a:pathLst>
              <a:path h="419100">
                <a:moveTo>
                  <a:pt x="0" y="0"/>
                </a:moveTo>
                <a:lnTo>
                  <a:pt x="0" y="419100"/>
                </a:lnTo>
              </a:path>
            </a:pathLst>
          </a:custGeom>
          <a:ln w="584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24" name="object 24"/>
          <p:cNvSpPr/>
          <p:nvPr/>
        </p:nvSpPr>
        <p:spPr>
          <a:xfrm>
            <a:off x="6558483" y="1509776"/>
            <a:ext cx="1513840" cy="0"/>
          </a:xfrm>
          <a:custGeom>
            <a:avLst/>
            <a:gdLst/>
            <a:ahLst/>
            <a:cxnLst/>
            <a:rect l="l" t="t" r="r" b="b"/>
            <a:pathLst>
              <a:path w="946150">
                <a:moveTo>
                  <a:pt x="0" y="0"/>
                </a:moveTo>
                <a:lnTo>
                  <a:pt x="945896" y="0"/>
                </a:lnTo>
              </a:path>
            </a:pathLst>
          </a:custGeom>
          <a:ln w="508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25" name="object 25"/>
          <p:cNvSpPr/>
          <p:nvPr/>
        </p:nvSpPr>
        <p:spPr>
          <a:xfrm>
            <a:off x="8067243" y="1514245"/>
            <a:ext cx="0" cy="670560"/>
          </a:xfrm>
          <a:custGeom>
            <a:avLst/>
            <a:gdLst/>
            <a:ahLst/>
            <a:cxnLst/>
            <a:rect l="l" t="t" r="r" b="b"/>
            <a:pathLst>
              <a:path h="419100">
                <a:moveTo>
                  <a:pt x="0" y="0"/>
                </a:moveTo>
                <a:lnTo>
                  <a:pt x="0" y="419100"/>
                </a:lnTo>
              </a:path>
            </a:pathLst>
          </a:custGeom>
          <a:ln w="584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26" name="object 26"/>
          <p:cNvSpPr/>
          <p:nvPr/>
        </p:nvSpPr>
        <p:spPr>
          <a:xfrm>
            <a:off x="6738517" y="1602028"/>
            <a:ext cx="1153362" cy="359662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27" name="object 27"/>
          <p:cNvSpPr/>
          <p:nvPr/>
        </p:nvSpPr>
        <p:spPr>
          <a:xfrm>
            <a:off x="6771435" y="1635556"/>
            <a:ext cx="1087933" cy="292811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28" name="object 28"/>
          <p:cNvSpPr/>
          <p:nvPr/>
        </p:nvSpPr>
        <p:spPr>
          <a:xfrm>
            <a:off x="7177431" y="1940965"/>
            <a:ext cx="275539" cy="293826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29" name="object 29"/>
          <p:cNvSpPr/>
          <p:nvPr/>
        </p:nvSpPr>
        <p:spPr>
          <a:xfrm>
            <a:off x="7210347" y="1973681"/>
            <a:ext cx="209702" cy="228600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30" name="object 30"/>
          <p:cNvSpPr/>
          <p:nvPr/>
        </p:nvSpPr>
        <p:spPr>
          <a:xfrm>
            <a:off x="5828994" y="1275282"/>
            <a:ext cx="1553261" cy="537666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31" name="object 31"/>
          <p:cNvSpPr/>
          <p:nvPr/>
        </p:nvSpPr>
        <p:spPr>
          <a:xfrm>
            <a:off x="6074664" y="1309421"/>
            <a:ext cx="1241552" cy="316992"/>
          </a:xfrm>
          <a:custGeom>
            <a:avLst/>
            <a:gdLst/>
            <a:ahLst/>
            <a:cxnLst/>
            <a:rect l="l" t="t" r="r" b="b"/>
            <a:pathLst>
              <a:path w="775970" h="198119">
                <a:moveTo>
                  <a:pt x="99822" y="80263"/>
                </a:moveTo>
                <a:lnTo>
                  <a:pt x="93852" y="83947"/>
                </a:lnTo>
                <a:lnTo>
                  <a:pt x="0" y="140842"/>
                </a:lnTo>
                <a:lnTo>
                  <a:pt x="95631" y="194563"/>
                </a:lnTo>
                <a:lnTo>
                  <a:pt x="101726" y="197865"/>
                </a:lnTo>
                <a:lnTo>
                  <a:pt x="109347" y="195707"/>
                </a:lnTo>
                <a:lnTo>
                  <a:pt x="112775" y="189737"/>
                </a:lnTo>
                <a:lnTo>
                  <a:pt x="116205" y="183641"/>
                </a:lnTo>
                <a:lnTo>
                  <a:pt x="114046" y="176022"/>
                </a:lnTo>
                <a:lnTo>
                  <a:pt x="72856" y="152908"/>
                </a:lnTo>
                <a:lnTo>
                  <a:pt x="25400" y="152908"/>
                </a:lnTo>
                <a:lnTo>
                  <a:pt x="24384" y="127762"/>
                </a:lnTo>
                <a:lnTo>
                  <a:pt x="47244" y="126873"/>
                </a:lnTo>
                <a:lnTo>
                  <a:pt x="70485" y="125095"/>
                </a:lnTo>
                <a:lnTo>
                  <a:pt x="75096" y="124628"/>
                </a:lnTo>
                <a:lnTo>
                  <a:pt x="106807" y="105410"/>
                </a:lnTo>
                <a:lnTo>
                  <a:pt x="112775" y="101853"/>
                </a:lnTo>
                <a:lnTo>
                  <a:pt x="114681" y="94107"/>
                </a:lnTo>
                <a:lnTo>
                  <a:pt x="111125" y="88137"/>
                </a:lnTo>
                <a:lnTo>
                  <a:pt x="107442" y="82169"/>
                </a:lnTo>
                <a:lnTo>
                  <a:pt x="99822" y="80263"/>
                </a:lnTo>
                <a:close/>
              </a:path>
              <a:path w="775970" h="198119">
                <a:moveTo>
                  <a:pt x="75096" y="124628"/>
                </a:moveTo>
                <a:lnTo>
                  <a:pt x="70485" y="125095"/>
                </a:lnTo>
                <a:lnTo>
                  <a:pt x="47244" y="126873"/>
                </a:lnTo>
                <a:lnTo>
                  <a:pt x="24384" y="127762"/>
                </a:lnTo>
                <a:lnTo>
                  <a:pt x="25400" y="152908"/>
                </a:lnTo>
                <a:lnTo>
                  <a:pt x="49022" y="151891"/>
                </a:lnTo>
                <a:lnTo>
                  <a:pt x="59309" y="151129"/>
                </a:lnTo>
                <a:lnTo>
                  <a:pt x="31369" y="151129"/>
                </a:lnTo>
                <a:lnTo>
                  <a:pt x="30987" y="129412"/>
                </a:lnTo>
                <a:lnTo>
                  <a:pt x="67202" y="129412"/>
                </a:lnTo>
                <a:lnTo>
                  <a:pt x="75096" y="124628"/>
                </a:lnTo>
                <a:close/>
              </a:path>
              <a:path w="775970" h="198119">
                <a:moveTo>
                  <a:pt x="68477" y="150450"/>
                </a:moveTo>
                <a:lnTo>
                  <a:pt x="49022" y="151891"/>
                </a:lnTo>
                <a:lnTo>
                  <a:pt x="25400" y="152908"/>
                </a:lnTo>
                <a:lnTo>
                  <a:pt x="72856" y="152908"/>
                </a:lnTo>
                <a:lnTo>
                  <a:pt x="68477" y="150450"/>
                </a:lnTo>
                <a:close/>
              </a:path>
              <a:path w="775970" h="198119">
                <a:moveTo>
                  <a:pt x="30987" y="129412"/>
                </a:moveTo>
                <a:lnTo>
                  <a:pt x="31369" y="151129"/>
                </a:lnTo>
                <a:lnTo>
                  <a:pt x="49791" y="139964"/>
                </a:lnTo>
                <a:lnTo>
                  <a:pt x="30987" y="129412"/>
                </a:lnTo>
                <a:close/>
              </a:path>
              <a:path w="775970" h="198119">
                <a:moveTo>
                  <a:pt x="49791" y="139964"/>
                </a:moveTo>
                <a:lnTo>
                  <a:pt x="31369" y="151129"/>
                </a:lnTo>
                <a:lnTo>
                  <a:pt x="59309" y="151129"/>
                </a:lnTo>
                <a:lnTo>
                  <a:pt x="68477" y="150450"/>
                </a:lnTo>
                <a:lnTo>
                  <a:pt x="49791" y="139964"/>
                </a:lnTo>
                <a:close/>
              </a:path>
              <a:path w="775970" h="198119">
                <a:moveTo>
                  <a:pt x="245154" y="77018"/>
                </a:moveTo>
                <a:lnTo>
                  <a:pt x="205739" y="99313"/>
                </a:lnTo>
                <a:lnTo>
                  <a:pt x="155701" y="112775"/>
                </a:lnTo>
                <a:lnTo>
                  <a:pt x="114935" y="120014"/>
                </a:lnTo>
                <a:lnTo>
                  <a:pt x="75096" y="124628"/>
                </a:lnTo>
                <a:lnTo>
                  <a:pt x="49791" y="139964"/>
                </a:lnTo>
                <a:lnTo>
                  <a:pt x="68477" y="150450"/>
                </a:lnTo>
                <a:lnTo>
                  <a:pt x="73025" y="150113"/>
                </a:lnTo>
                <a:lnTo>
                  <a:pt x="96265" y="147700"/>
                </a:lnTo>
                <a:lnTo>
                  <a:pt x="140715" y="141350"/>
                </a:lnTo>
                <a:lnTo>
                  <a:pt x="180594" y="132969"/>
                </a:lnTo>
                <a:lnTo>
                  <a:pt x="229488" y="117094"/>
                </a:lnTo>
                <a:lnTo>
                  <a:pt x="261874" y="96647"/>
                </a:lnTo>
                <a:lnTo>
                  <a:pt x="267081" y="89281"/>
                </a:lnTo>
                <a:lnTo>
                  <a:pt x="267588" y="88646"/>
                </a:lnTo>
                <a:lnTo>
                  <a:pt x="267843" y="87884"/>
                </a:lnTo>
                <a:lnTo>
                  <a:pt x="269348" y="83947"/>
                </a:lnTo>
                <a:lnTo>
                  <a:pt x="269621" y="83312"/>
                </a:lnTo>
                <a:lnTo>
                  <a:pt x="269890" y="82169"/>
                </a:lnTo>
                <a:lnTo>
                  <a:pt x="270012" y="81152"/>
                </a:lnTo>
                <a:lnTo>
                  <a:pt x="268859" y="81152"/>
                </a:lnTo>
                <a:lnTo>
                  <a:pt x="269207" y="80390"/>
                </a:lnTo>
                <a:lnTo>
                  <a:pt x="268859" y="80390"/>
                </a:lnTo>
                <a:lnTo>
                  <a:pt x="269534" y="79676"/>
                </a:lnTo>
                <a:lnTo>
                  <a:pt x="270252" y="78104"/>
                </a:lnTo>
                <a:lnTo>
                  <a:pt x="244729" y="78104"/>
                </a:lnTo>
                <a:lnTo>
                  <a:pt x="245154" y="77018"/>
                </a:lnTo>
                <a:close/>
              </a:path>
              <a:path w="775970" h="198119">
                <a:moveTo>
                  <a:pt x="67202" y="129412"/>
                </a:moveTo>
                <a:lnTo>
                  <a:pt x="30987" y="129412"/>
                </a:lnTo>
                <a:lnTo>
                  <a:pt x="49791" y="139964"/>
                </a:lnTo>
                <a:lnTo>
                  <a:pt x="67202" y="129412"/>
                </a:lnTo>
                <a:close/>
              </a:path>
              <a:path w="775970" h="198119">
                <a:moveTo>
                  <a:pt x="270149" y="79330"/>
                </a:moveTo>
                <a:lnTo>
                  <a:pt x="269416" y="79932"/>
                </a:lnTo>
                <a:lnTo>
                  <a:pt x="268859" y="81152"/>
                </a:lnTo>
                <a:lnTo>
                  <a:pt x="270149" y="79330"/>
                </a:lnTo>
                <a:close/>
              </a:path>
              <a:path w="775970" h="198119">
                <a:moveTo>
                  <a:pt x="270257" y="79242"/>
                </a:moveTo>
                <a:lnTo>
                  <a:pt x="268859" y="81152"/>
                </a:lnTo>
                <a:lnTo>
                  <a:pt x="270012" y="81152"/>
                </a:lnTo>
                <a:lnTo>
                  <a:pt x="270129" y="79756"/>
                </a:lnTo>
                <a:lnTo>
                  <a:pt x="270257" y="79242"/>
                </a:lnTo>
                <a:close/>
              </a:path>
              <a:path w="775970" h="198119">
                <a:moveTo>
                  <a:pt x="269534" y="79676"/>
                </a:moveTo>
                <a:lnTo>
                  <a:pt x="268859" y="80390"/>
                </a:lnTo>
                <a:lnTo>
                  <a:pt x="269416" y="79932"/>
                </a:lnTo>
                <a:lnTo>
                  <a:pt x="269534" y="79676"/>
                </a:lnTo>
                <a:close/>
              </a:path>
              <a:path w="775970" h="198119">
                <a:moveTo>
                  <a:pt x="269416" y="79932"/>
                </a:moveTo>
                <a:lnTo>
                  <a:pt x="268859" y="80390"/>
                </a:lnTo>
                <a:lnTo>
                  <a:pt x="269207" y="80390"/>
                </a:lnTo>
                <a:lnTo>
                  <a:pt x="269416" y="79932"/>
                </a:lnTo>
                <a:close/>
              </a:path>
              <a:path w="775970" h="198119">
                <a:moveTo>
                  <a:pt x="270370" y="78790"/>
                </a:moveTo>
                <a:lnTo>
                  <a:pt x="269534" y="79676"/>
                </a:lnTo>
                <a:lnTo>
                  <a:pt x="269416" y="79932"/>
                </a:lnTo>
                <a:lnTo>
                  <a:pt x="270149" y="79330"/>
                </a:lnTo>
                <a:lnTo>
                  <a:pt x="270287" y="79121"/>
                </a:lnTo>
                <a:lnTo>
                  <a:pt x="270370" y="78790"/>
                </a:lnTo>
                <a:close/>
              </a:path>
              <a:path w="775970" h="198119">
                <a:moveTo>
                  <a:pt x="270890" y="76708"/>
                </a:moveTo>
                <a:lnTo>
                  <a:pt x="269534" y="79676"/>
                </a:lnTo>
                <a:lnTo>
                  <a:pt x="270370" y="78790"/>
                </a:lnTo>
                <a:lnTo>
                  <a:pt x="270890" y="76708"/>
                </a:lnTo>
                <a:close/>
              </a:path>
              <a:path w="775970" h="198119">
                <a:moveTo>
                  <a:pt x="270281" y="79144"/>
                </a:moveTo>
                <a:lnTo>
                  <a:pt x="270149" y="79330"/>
                </a:lnTo>
                <a:lnTo>
                  <a:pt x="270281" y="79144"/>
                </a:lnTo>
                <a:close/>
              </a:path>
              <a:path w="775970" h="198119">
                <a:moveTo>
                  <a:pt x="271568" y="78104"/>
                </a:moveTo>
                <a:lnTo>
                  <a:pt x="271018" y="78104"/>
                </a:lnTo>
                <a:lnTo>
                  <a:pt x="270298" y="79121"/>
                </a:lnTo>
                <a:lnTo>
                  <a:pt x="271023" y="78612"/>
                </a:lnTo>
                <a:lnTo>
                  <a:pt x="270890" y="78612"/>
                </a:lnTo>
                <a:lnTo>
                  <a:pt x="271568" y="78104"/>
                </a:lnTo>
                <a:close/>
              </a:path>
              <a:path w="775970" h="198119">
                <a:moveTo>
                  <a:pt x="271018" y="78104"/>
                </a:moveTo>
                <a:lnTo>
                  <a:pt x="270370" y="78790"/>
                </a:lnTo>
                <a:lnTo>
                  <a:pt x="270281" y="79144"/>
                </a:lnTo>
                <a:lnTo>
                  <a:pt x="271018" y="78104"/>
                </a:lnTo>
                <a:close/>
              </a:path>
              <a:path w="775970" h="198119">
                <a:moveTo>
                  <a:pt x="273999" y="76708"/>
                </a:moveTo>
                <a:lnTo>
                  <a:pt x="270890" y="76708"/>
                </a:lnTo>
                <a:lnTo>
                  <a:pt x="270370" y="78790"/>
                </a:lnTo>
                <a:lnTo>
                  <a:pt x="271018" y="78104"/>
                </a:lnTo>
                <a:lnTo>
                  <a:pt x="271568" y="78104"/>
                </a:lnTo>
                <a:lnTo>
                  <a:pt x="272414" y="77470"/>
                </a:lnTo>
                <a:lnTo>
                  <a:pt x="272755" y="77470"/>
                </a:lnTo>
                <a:lnTo>
                  <a:pt x="273999" y="76708"/>
                </a:lnTo>
                <a:close/>
              </a:path>
              <a:path w="775970" h="198119">
                <a:moveTo>
                  <a:pt x="272414" y="77470"/>
                </a:moveTo>
                <a:lnTo>
                  <a:pt x="270890" y="78612"/>
                </a:lnTo>
                <a:lnTo>
                  <a:pt x="271413" y="78293"/>
                </a:lnTo>
                <a:lnTo>
                  <a:pt x="272414" y="77470"/>
                </a:lnTo>
                <a:close/>
              </a:path>
              <a:path w="775970" h="198119">
                <a:moveTo>
                  <a:pt x="271413" y="78293"/>
                </a:moveTo>
                <a:lnTo>
                  <a:pt x="270890" y="78612"/>
                </a:lnTo>
                <a:lnTo>
                  <a:pt x="271023" y="78612"/>
                </a:lnTo>
                <a:lnTo>
                  <a:pt x="271413" y="78293"/>
                </a:lnTo>
                <a:close/>
              </a:path>
              <a:path w="775970" h="198119">
                <a:moveTo>
                  <a:pt x="272755" y="77470"/>
                </a:moveTo>
                <a:lnTo>
                  <a:pt x="272414" y="77470"/>
                </a:lnTo>
                <a:lnTo>
                  <a:pt x="271413" y="78293"/>
                </a:lnTo>
                <a:lnTo>
                  <a:pt x="272755" y="77470"/>
                </a:lnTo>
                <a:close/>
              </a:path>
              <a:path w="775970" h="198119">
                <a:moveTo>
                  <a:pt x="245298" y="76787"/>
                </a:moveTo>
                <a:lnTo>
                  <a:pt x="245146" y="77038"/>
                </a:lnTo>
                <a:lnTo>
                  <a:pt x="244729" y="78104"/>
                </a:lnTo>
                <a:lnTo>
                  <a:pt x="245262" y="77038"/>
                </a:lnTo>
                <a:lnTo>
                  <a:pt x="245298" y="76787"/>
                </a:lnTo>
                <a:close/>
              </a:path>
              <a:path w="775970" h="198119">
                <a:moveTo>
                  <a:pt x="245262" y="77038"/>
                </a:moveTo>
                <a:lnTo>
                  <a:pt x="244729" y="78104"/>
                </a:lnTo>
                <a:lnTo>
                  <a:pt x="245110" y="78104"/>
                </a:lnTo>
                <a:lnTo>
                  <a:pt x="245262" y="77038"/>
                </a:lnTo>
                <a:close/>
              </a:path>
              <a:path w="775970" h="198119">
                <a:moveTo>
                  <a:pt x="245525" y="76511"/>
                </a:moveTo>
                <a:lnTo>
                  <a:pt x="245272" y="77018"/>
                </a:lnTo>
                <a:lnTo>
                  <a:pt x="245110" y="78104"/>
                </a:lnTo>
                <a:lnTo>
                  <a:pt x="245525" y="76511"/>
                </a:lnTo>
                <a:close/>
              </a:path>
              <a:path w="775970" h="198119">
                <a:moveTo>
                  <a:pt x="275100" y="76073"/>
                </a:moveTo>
                <a:lnTo>
                  <a:pt x="245745" y="76073"/>
                </a:lnTo>
                <a:lnTo>
                  <a:pt x="245510" y="76571"/>
                </a:lnTo>
                <a:lnTo>
                  <a:pt x="245110" y="78104"/>
                </a:lnTo>
                <a:lnTo>
                  <a:pt x="270252" y="78104"/>
                </a:lnTo>
                <a:lnTo>
                  <a:pt x="270890" y="76708"/>
                </a:lnTo>
                <a:lnTo>
                  <a:pt x="273999" y="76708"/>
                </a:lnTo>
                <a:lnTo>
                  <a:pt x="274827" y="76200"/>
                </a:lnTo>
                <a:lnTo>
                  <a:pt x="275100" y="76073"/>
                </a:lnTo>
                <a:close/>
              </a:path>
              <a:path w="775970" h="198119">
                <a:moveTo>
                  <a:pt x="245564" y="76361"/>
                </a:moveTo>
                <a:lnTo>
                  <a:pt x="245348" y="76708"/>
                </a:lnTo>
                <a:lnTo>
                  <a:pt x="245262" y="77038"/>
                </a:lnTo>
                <a:lnTo>
                  <a:pt x="245495" y="76571"/>
                </a:lnTo>
                <a:lnTo>
                  <a:pt x="245564" y="76361"/>
                </a:lnTo>
                <a:close/>
              </a:path>
              <a:path w="775970" h="198119">
                <a:moveTo>
                  <a:pt x="245329" y="76571"/>
                </a:moveTo>
                <a:lnTo>
                  <a:pt x="245154" y="77018"/>
                </a:lnTo>
                <a:lnTo>
                  <a:pt x="245298" y="76787"/>
                </a:lnTo>
                <a:lnTo>
                  <a:pt x="245329" y="76571"/>
                </a:lnTo>
                <a:close/>
              </a:path>
              <a:path w="775970" h="198119">
                <a:moveTo>
                  <a:pt x="245872" y="75184"/>
                </a:moveTo>
                <a:lnTo>
                  <a:pt x="245411" y="76361"/>
                </a:lnTo>
                <a:lnTo>
                  <a:pt x="245298" y="76787"/>
                </a:lnTo>
                <a:lnTo>
                  <a:pt x="245564" y="76361"/>
                </a:lnTo>
                <a:lnTo>
                  <a:pt x="245872" y="75184"/>
                </a:lnTo>
                <a:close/>
              </a:path>
              <a:path w="775970" h="198119">
                <a:moveTo>
                  <a:pt x="775843" y="0"/>
                </a:moveTo>
                <a:lnTo>
                  <a:pt x="727329" y="381"/>
                </a:lnTo>
                <a:lnTo>
                  <a:pt x="679069" y="1397"/>
                </a:lnTo>
                <a:lnTo>
                  <a:pt x="631444" y="3175"/>
                </a:lnTo>
                <a:lnTo>
                  <a:pt x="585088" y="5587"/>
                </a:lnTo>
                <a:lnTo>
                  <a:pt x="540258" y="8382"/>
                </a:lnTo>
                <a:lnTo>
                  <a:pt x="497205" y="11811"/>
                </a:lnTo>
                <a:lnTo>
                  <a:pt x="456438" y="15748"/>
                </a:lnTo>
                <a:lnTo>
                  <a:pt x="418338" y="20065"/>
                </a:lnTo>
                <a:lnTo>
                  <a:pt x="351536" y="29845"/>
                </a:lnTo>
                <a:lnTo>
                  <a:pt x="310896" y="38100"/>
                </a:lnTo>
                <a:lnTo>
                  <a:pt x="271399" y="50037"/>
                </a:lnTo>
                <a:lnTo>
                  <a:pt x="258190" y="56896"/>
                </a:lnTo>
                <a:lnTo>
                  <a:pt x="257556" y="57150"/>
                </a:lnTo>
                <a:lnTo>
                  <a:pt x="257048" y="57531"/>
                </a:lnTo>
                <a:lnTo>
                  <a:pt x="256539" y="58038"/>
                </a:lnTo>
                <a:lnTo>
                  <a:pt x="252984" y="60960"/>
                </a:lnTo>
                <a:lnTo>
                  <a:pt x="252095" y="61595"/>
                </a:lnTo>
                <a:lnTo>
                  <a:pt x="251460" y="62357"/>
                </a:lnTo>
                <a:lnTo>
                  <a:pt x="250825" y="63246"/>
                </a:lnTo>
                <a:lnTo>
                  <a:pt x="248538" y="66166"/>
                </a:lnTo>
                <a:lnTo>
                  <a:pt x="247650" y="67437"/>
                </a:lnTo>
                <a:lnTo>
                  <a:pt x="246887" y="68961"/>
                </a:lnTo>
                <a:lnTo>
                  <a:pt x="246443" y="70865"/>
                </a:lnTo>
                <a:lnTo>
                  <a:pt x="245745" y="73660"/>
                </a:lnTo>
                <a:lnTo>
                  <a:pt x="245329" y="76571"/>
                </a:lnTo>
                <a:lnTo>
                  <a:pt x="245872" y="75184"/>
                </a:lnTo>
                <a:lnTo>
                  <a:pt x="277005" y="75184"/>
                </a:lnTo>
                <a:lnTo>
                  <a:pt x="316357" y="62611"/>
                </a:lnTo>
                <a:lnTo>
                  <a:pt x="355600" y="54737"/>
                </a:lnTo>
                <a:lnTo>
                  <a:pt x="403606" y="47371"/>
                </a:lnTo>
                <a:lnTo>
                  <a:pt x="458977" y="40766"/>
                </a:lnTo>
                <a:lnTo>
                  <a:pt x="499237" y="36957"/>
                </a:lnTo>
                <a:lnTo>
                  <a:pt x="541782" y="33527"/>
                </a:lnTo>
                <a:lnTo>
                  <a:pt x="586359" y="30607"/>
                </a:lnTo>
                <a:lnTo>
                  <a:pt x="632333" y="28321"/>
                </a:lnTo>
                <a:lnTo>
                  <a:pt x="679576" y="26542"/>
                </a:lnTo>
                <a:lnTo>
                  <a:pt x="727583" y="25526"/>
                </a:lnTo>
                <a:lnTo>
                  <a:pt x="775970" y="25146"/>
                </a:lnTo>
                <a:lnTo>
                  <a:pt x="775843" y="0"/>
                </a:lnTo>
                <a:close/>
              </a:path>
              <a:path w="775970" h="198119">
                <a:moveTo>
                  <a:pt x="245745" y="76073"/>
                </a:moveTo>
                <a:lnTo>
                  <a:pt x="245564" y="76361"/>
                </a:lnTo>
                <a:lnTo>
                  <a:pt x="245525" y="76511"/>
                </a:lnTo>
                <a:lnTo>
                  <a:pt x="245745" y="76073"/>
                </a:lnTo>
                <a:close/>
              </a:path>
              <a:path w="775970" h="198119">
                <a:moveTo>
                  <a:pt x="277005" y="75184"/>
                </a:moveTo>
                <a:lnTo>
                  <a:pt x="245872" y="75184"/>
                </a:lnTo>
                <a:lnTo>
                  <a:pt x="245564" y="76361"/>
                </a:lnTo>
                <a:lnTo>
                  <a:pt x="245745" y="76073"/>
                </a:lnTo>
                <a:lnTo>
                  <a:pt x="275100" y="76073"/>
                </a:lnTo>
                <a:lnTo>
                  <a:pt x="277005" y="75184"/>
                </a:lnTo>
                <a:close/>
              </a:path>
            </a:pathLst>
          </a:custGeom>
          <a:solidFill>
            <a:srgbClr val="71B0D3"/>
          </a:solid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32" name="object 32"/>
          <p:cNvSpPr/>
          <p:nvPr/>
        </p:nvSpPr>
        <p:spPr>
          <a:xfrm>
            <a:off x="7250582" y="1275282"/>
            <a:ext cx="1552042" cy="537666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33" name="object 33"/>
          <p:cNvSpPr/>
          <p:nvPr/>
        </p:nvSpPr>
        <p:spPr>
          <a:xfrm>
            <a:off x="7315606" y="1309421"/>
            <a:ext cx="1242568" cy="316992"/>
          </a:xfrm>
          <a:custGeom>
            <a:avLst/>
            <a:gdLst/>
            <a:ahLst/>
            <a:cxnLst/>
            <a:rect l="l" t="t" r="r" b="b"/>
            <a:pathLst>
              <a:path w="776604" h="198119">
                <a:moveTo>
                  <a:pt x="707500" y="150442"/>
                </a:moveTo>
                <a:lnTo>
                  <a:pt x="668020" y="172592"/>
                </a:lnTo>
                <a:lnTo>
                  <a:pt x="662051" y="176022"/>
                </a:lnTo>
                <a:lnTo>
                  <a:pt x="659892" y="183641"/>
                </a:lnTo>
                <a:lnTo>
                  <a:pt x="663194" y="189737"/>
                </a:lnTo>
                <a:lnTo>
                  <a:pt x="666623" y="195707"/>
                </a:lnTo>
                <a:lnTo>
                  <a:pt x="674370" y="197865"/>
                </a:lnTo>
                <a:lnTo>
                  <a:pt x="754591" y="152908"/>
                </a:lnTo>
                <a:lnTo>
                  <a:pt x="750570" y="152908"/>
                </a:lnTo>
                <a:lnTo>
                  <a:pt x="727075" y="151891"/>
                </a:lnTo>
                <a:lnTo>
                  <a:pt x="707500" y="150442"/>
                </a:lnTo>
                <a:close/>
              </a:path>
              <a:path w="776604" h="198119">
                <a:moveTo>
                  <a:pt x="726176" y="139963"/>
                </a:moveTo>
                <a:lnTo>
                  <a:pt x="707500" y="150442"/>
                </a:lnTo>
                <a:lnTo>
                  <a:pt x="727075" y="151891"/>
                </a:lnTo>
                <a:lnTo>
                  <a:pt x="750570" y="152908"/>
                </a:lnTo>
                <a:lnTo>
                  <a:pt x="750650" y="151129"/>
                </a:lnTo>
                <a:lnTo>
                  <a:pt x="744601" y="151129"/>
                </a:lnTo>
                <a:lnTo>
                  <a:pt x="726176" y="139963"/>
                </a:lnTo>
                <a:close/>
              </a:path>
              <a:path w="776604" h="198119">
                <a:moveTo>
                  <a:pt x="676275" y="80263"/>
                </a:moveTo>
                <a:lnTo>
                  <a:pt x="668528" y="82169"/>
                </a:lnTo>
                <a:lnTo>
                  <a:pt x="664972" y="88137"/>
                </a:lnTo>
                <a:lnTo>
                  <a:pt x="661288" y="94107"/>
                </a:lnTo>
                <a:lnTo>
                  <a:pt x="663194" y="101853"/>
                </a:lnTo>
                <a:lnTo>
                  <a:pt x="669163" y="105410"/>
                </a:lnTo>
                <a:lnTo>
                  <a:pt x="700828" y="124601"/>
                </a:lnTo>
                <a:lnTo>
                  <a:pt x="705738" y="125095"/>
                </a:lnTo>
                <a:lnTo>
                  <a:pt x="728853" y="126873"/>
                </a:lnTo>
                <a:lnTo>
                  <a:pt x="751713" y="127762"/>
                </a:lnTo>
                <a:lnTo>
                  <a:pt x="750570" y="152908"/>
                </a:lnTo>
                <a:lnTo>
                  <a:pt x="754591" y="152908"/>
                </a:lnTo>
                <a:lnTo>
                  <a:pt x="776097" y="140842"/>
                </a:lnTo>
                <a:lnTo>
                  <a:pt x="682244" y="83947"/>
                </a:lnTo>
                <a:lnTo>
                  <a:pt x="676275" y="80263"/>
                </a:lnTo>
                <a:close/>
              </a:path>
              <a:path w="776604" h="198119">
                <a:moveTo>
                  <a:pt x="744982" y="129412"/>
                </a:moveTo>
                <a:lnTo>
                  <a:pt x="726176" y="139963"/>
                </a:lnTo>
                <a:lnTo>
                  <a:pt x="744601" y="151129"/>
                </a:lnTo>
                <a:lnTo>
                  <a:pt x="744982" y="129412"/>
                </a:lnTo>
                <a:close/>
              </a:path>
              <a:path w="776604" h="198119">
                <a:moveTo>
                  <a:pt x="751637" y="129412"/>
                </a:moveTo>
                <a:lnTo>
                  <a:pt x="744982" y="129412"/>
                </a:lnTo>
                <a:lnTo>
                  <a:pt x="744601" y="151129"/>
                </a:lnTo>
                <a:lnTo>
                  <a:pt x="750650" y="151129"/>
                </a:lnTo>
                <a:lnTo>
                  <a:pt x="751637" y="129412"/>
                </a:lnTo>
                <a:close/>
              </a:path>
              <a:path w="776604" h="198119">
                <a:moveTo>
                  <a:pt x="505839" y="79242"/>
                </a:moveTo>
                <a:lnTo>
                  <a:pt x="505968" y="79756"/>
                </a:lnTo>
                <a:lnTo>
                  <a:pt x="506084" y="81152"/>
                </a:lnTo>
                <a:lnTo>
                  <a:pt x="506206" y="82169"/>
                </a:lnTo>
                <a:lnTo>
                  <a:pt x="506475" y="83312"/>
                </a:lnTo>
                <a:lnTo>
                  <a:pt x="506953" y="84454"/>
                </a:lnTo>
                <a:lnTo>
                  <a:pt x="508254" y="87884"/>
                </a:lnTo>
                <a:lnTo>
                  <a:pt x="546608" y="117094"/>
                </a:lnTo>
                <a:lnTo>
                  <a:pt x="595503" y="132969"/>
                </a:lnTo>
                <a:lnTo>
                  <a:pt x="635381" y="141350"/>
                </a:lnTo>
                <a:lnTo>
                  <a:pt x="679704" y="147700"/>
                </a:lnTo>
                <a:lnTo>
                  <a:pt x="707500" y="150442"/>
                </a:lnTo>
                <a:lnTo>
                  <a:pt x="726176" y="139963"/>
                </a:lnTo>
                <a:lnTo>
                  <a:pt x="700828" y="124601"/>
                </a:lnTo>
                <a:lnTo>
                  <a:pt x="683006" y="122809"/>
                </a:lnTo>
                <a:lnTo>
                  <a:pt x="661162" y="120014"/>
                </a:lnTo>
                <a:lnTo>
                  <a:pt x="620395" y="112775"/>
                </a:lnTo>
                <a:lnTo>
                  <a:pt x="570357" y="99313"/>
                </a:lnTo>
                <a:lnTo>
                  <a:pt x="535813" y="82423"/>
                </a:lnTo>
                <a:lnTo>
                  <a:pt x="534249" y="81152"/>
                </a:lnTo>
                <a:lnTo>
                  <a:pt x="507365" y="81152"/>
                </a:lnTo>
                <a:lnTo>
                  <a:pt x="506080" y="79439"/>
                </a:lnTo>
                <a:lnTo>
                  <a:pt x="505839" y="79242"/>
                </a:lnTo>
                <a:close/>
              </a:path>
              <a:path w="776604" h="198119">
                <a:moveTo>
                  <a:pt x="700828" y="124601"/>
                </a:moveTo>
                <a:lnTo>
                  <a:pt x="726176" y="139963"/>
                </a:lnTo>
                <a:lnTo>
                  <a:pt x="744982" y="129412"/>
                </a:lnTo>
                <a:lnTo>
                  <a:pt x="751637" y="129412"/>
                </a:lnTo>
                <a:lnTo>
                  <a:pt x="751713" y="127762"/>
                </a:lnTo>
                <a:lnTo>
                  <a:pt x="728853" y="126873"/>
                </a:lnTo>
                <a:lnTo>
                  <a:pt x="705738" y="125095"/>
                </a:lnTo>
                <a:lnTo>
                  <a:pt x="700828" y="124601"/>
                </a:lnTo>
                <a:close/>
              </a:path>
              <a:path w="776604" h="198119">
                <a:moveTo>
                  <a:pt x="506080" y="79439"/>
                </a:moveTo>
                <a:lnTo>
                  <a:pt x="507365" y="81152"/>
                </a:lnTo>
                <a:lnTo>
                  <a:pt x="506833" y="80058"/>
                </a:lnTo>
                <a:lnTo>
                  <a:pt x="506080" y="79439"/>
                </a:lnTo>
                <a:close/>
              </a:path>
              <a:path w="776604" h="198119">
                <a:moveTo>
                  <a:pt x="506833" y="80058"/>
                </a:moveTo>
                <a:lnTo>
                  <a:pt x="507365" y="81152"/>
                </a:lnTo>
                <a:lnTo>
                  <a:pt x="534249" y="81152"/>
                </a:lnTo>
                <a:lnTo>
                  <a:pt x="533781" y="80772"/>
                </a:lnTo>
                <a:lnTo>
                  <a:pt x="533429" y="80390"/>
                </a:lnTo>
                <a:lnTo>
                  <a:pt x="507238" y="80390"/>
                </a:lnTo>
                <a:lnTo>
                  <a:pt x="506833" y="80058"/>
                </a:lnTo>
                <a:close/>
              </a:path>
              <a:path w="776604" h="198119">
                <a:moveTo>
                  <a:pt x="506737" y="79861"/>
                </a:moveTo>
                <a:lnTo>
                  <a:pt x="506833" y="80058"/>
                </a:lnTo>
                <a:lnTo>
                  <a:pt x="507238" y="80390"/>
                </a:lnTo>
                <a:lnTo>
                  <a:pt x="506737" y="79861"/>
                </a:lnTo>
                <a:close/>
              </a:path>
              <a:path w="776604" h="198119">
                <a:moveTo>
                  <a:pt x="530683" y="76708"/>
                </a:moveTo>
                <a:lnTo>
                  <a:pt x="505206" y="76708"/>
                </a:lnTo>
                <a:lnTo>
                  <a:pt x="506737" y="79861"/>
                </a:lnTo>
                <a:lnTo>
                  <a:pt x="507238" y="80390"/>
                </a:lnTo>
                <a:lnTo>
                  <a:pt x="533429" y="80390"/>
                </a:lnTo>
                <a:lnTo>
                  <a:pt x="532257" y="79121"/>
                </a:lnTo>
                <a:lnTo>
                  <a:pt x="531664" y="78104"/>
                </a:lnTo>
                <a:lnTo>
                  <a:pt x="530987" y="78104"/>
                </a:lnTo>
                <a:lnTo>
                  <a:pt x="530683" y="76708"/>
                </a:lnTo>
                <a:close/>
              </a:path>
              <a:path w="776604" h="198119">
                <a:moveTo>
                  <a:pt x="505726" y="78790"/>
                </a:moveTo>
                <a:lnTo>
                  <a:pt x="505841" y="79121"/>
                </a:lnTo>
                <a:lnTo>
                  <a:pt x="506080" y="79439"/>
                </a:lnTo>
                <a:lnTo>
                  <a:pt x="506833" y="80058"/>
                </a:lnTo>
                <a:lnTo>
                  <a:pt x="506737" y="79861"/>
                </a:lnTo>
                <a:lnTo>
                  <a:pt x="505726" y="78790"/>
                </a:lnTo>
                <a:close/>
              </a:path>
              <a:path w="776604" h="198119">
                <a:moveTo>
                  <a:pt x="505206" y="76708"/>
                </a:moveTo>
                <a:lnTo>
                  <a:pt x="505726" y="78790"/>
                </a:lnTo>
                <a:lnTo>
                  <a:pt x="506737" y="79861"/>
                </a:lnTo>
                <a:lnTo>
                  <a:pt x="505206" y="76708"/>
                </a:lnTo>
                <a:close/>
              </a:path>
              <a:path w="776604" h="198119">
                <a:moveTo>
                  <a:pt x="505793" y="79057"/>
                </a:moveTo>
                <a:lnTo>
                  <a:pt x="505839" y="79242"/>
                </a:lnTo>
                <a:lnTo>
                  <a:pt x="506080" y="79439"/>
                </a:lnTo>
                <a:lnTo>
                  <a:pt x="505793" y="79057"/>
                </a:lnTo>
                <a:close/>
              </a:path>
              <a:path w="776604" h="198119">
                <a:moveTo>
                  <a:pt x="504396" y="78057"/>
                </a:moveTo>
                <a:lnTo>
                  <a:pt x="505839" y="79242"/>
                </a:lnTo>
                <a:lnTo>
                  <a:pt x="505793" y="79057"/>
                </a:lnTo>
                <a:lnTo>
                  <a:pt x="505460" y="78612"/>
                </a:lnTo>
                <a:lnTo>
                  <a:pt x="505333" y="78612"/>
                </a:lnTo>
                <a:lnTo>
                  <a:pt x="504396" y="78057"/>
                </a:lnTo>
                <a:close/>
              </a:path>
              <a:path w="776604" h="198119">
                <a:moveTo>
                  <a:pt x="505079" y="78104"/>
                </a:moveTo>
                <a:lnTo>
                  <a:pt x="505793" y="79057"/>
                </a:lnTo>
                <a:lnTo>
                  <a:pt x="505726" y="78790"/>
                </a:lnTo>
                <a:lnTo>
                  <a:pt x="505079" y="78104"/>
                </a:lnTo>
                <a:close/>
              </a:path>
              <a:path w="776604" h="198119">
                <a:moveTo>
                  <a:pt x="505555" y="78104"/>
                </a:moveTo>
                <a:lnTo>
                  <a:pt x="505079" y="78104"/>
                </a:lnTo>
                <a:lnTo>
                  <a:pt x="505726" y="78790"/>
                </a:lnTo>
                <a:lnTo>
                  <a:pt x="505555" y="78104"/>
                </a:lnTo>
                <a:close/>
              </a:path>
              <a:path w="776604" h="198119">
                <a:moveTo>
                  <a:pt x="503682" y="77470"/>
                </a:moveTo>
                <a:lnTo>
                  <a:pt x="504396" y="78057"/>
                </a:lnTo>
                <a:lnTo>
                  <a:pt x="505333" y="78612"/>
                </a:lnTo>
                <a:lnTo>
                  <a:pt x="503682" y="77470"/>
                </a:lnTo>
                <a:close/>
              </a:path>
              <a:path w="776604" h="198119">
                <a:moveTo>
                  <a:pt x="505396" y="77470"/>
                </a:moveTo>
                <a:lnTo>
                  <a:pt x="503682" y="77470"/>
                </a:lnTo>
                <a:lnTo>
                  <a:pt x="505333" y="78612"/>
                </a:lnTo>
                <a:lnTo>
                  <a:pt x="505460" y="78612"/>
                </a:lnTo>
                <a:lnTo>
                  <a:pt x="505079" y="78104"/>
                </a:lnTo>
                <a:lnTo>
                  <a:pt x="505555" y="78104"/>
                </a:lnTo>
                <a:lnTo>
                  <a:pt x="505396" y="77470"/>
                </a:lnTo>
                <a:close/>
              </a:path>
              <a:path w="776604" h="198119">
                <a:moveTo>
                  <a:pt x="530596" y="76307"/>
                </a:moveTo>
                <a:lnTo>
                  <a:pt x="530987" y="78104"/>
                </a:lnTo>
                <a:lnTo>
                  <a:pt x="530783" y="76682"/>
                </a:lnTo>
                <a:lnTo>
                  <a:pt x="530596" y="76307"/>
                </a:lnTo>
                <a:close/>
              </a:path>
              <a:path w="776604" h="198119">
                <a:moveTo>
                  <a:pt x="530783" y="76682"/>
                </a:moveTo>
                <a:lnTo>
                  <a:pt x="530987" y="78104"/>
                </a:lnTo>
                <a:lnTo>
                  <a:pt x="531495" y="78104"/>
                </a:lnTo>
                <a:lnTo>
                  <a:pt x="530783" y="76682"/>
                </a:lnTo>
                <a:close/>
              </a:path>
              <a:path w="776604" h="198119">
                <a:moveTo>
                  <a:pt x="530767" y="76567"/>
                </a:moveTo>
                <a:lnTo>
                  <a:pt x="530796" y="76708"/>
                </a:lnTo>
                <a:lnTo>
                  <a:pt x="531495" y="78104"/>
                </a:lnTo>
                <a:lnTo>
                  <a:pt x="531149" y="77223"/>
                </a:lnTo>
                <a:lnTo>
                  <a:pt x="530767" y="76567"/>
                </a:lnTo>
                <a:close/>
              </a:path>
              <a:path w="776604" h="198119">
                <a:moveTo>
                  <a:pt x="531149" y="77223"/>
                </a:moveTo>
                <a:lnTo>
                  <a:pt x="531495" y="78104"/>
                </a:lnTo>
                <a:lnTo>
                  <a:pt x="531664" y="78104"/>
                </a:lnTo>
                <a:lnTo>
                  <a:pt x="531149" y="77223"/>
                </a:lnTo>
                <a:close/>
              </a:path>
              <a:path w="776604" h="198119">
                <a:moveTo>
                  <a:pt x="254" y="0"/>
                </a:moveTo>
                <a:lnTo>
                  <a:pt x="0" y="25146"/>
                </a:lnTo>
                <a:lnTo>
                  <a:pt x="48513" y="25526"/>
                </a:lnTo>
                <a:lnTo>
                  <a:pt x="96520" y="26542"/>
                </a:lnTo>
                <a:lnTo>
                  <a:pt x="143637" y="28321"/>
                </a:lnTo>
                <a:lnTo>
                  <a:pt x="189737" y="30607"/>
                </a:lnTo>
                <a:lnTo>
                  <a:pt x="234315" y="33527"/>
                </a:lnTo>
                <a:lnTo>
                  <a:pt x="276860" y="36957"/>
                </a:lnTo>
                <a:lnTo>
                  <a:pt x="317246" y="40766"/>
                </a:lnTo>
                <a:lnTo>
                  <a:pt x="372491" y="47371"/>
                </a:lnTo>
                <a:lnTo>
                  <a:pt x="420497" y="54737"/>
                </a:lnTo>
                <a:lnTo>
                  <a:pt x="459740" y="62611"/>
                </a:lnTo>
                <a:lnTo>
                  <a:pt x="501449" y="76307"/>
                </a:lnTo>
                <a:lnTo>
                  <a:pt x="504396" y="78057"/>
                </a:lnTo>
                <a:lnTo>
                  <a:pt x="503682" y="77470"/>
                </a:lnTo>
                <a:lnTo>
                  <a:pt x="505396" y="77470"/>
                </a:lnTo>
                <a:lnTo>
                  <a:pt x="505206" y="76708"/>
                </a:lnTo>
                <a:lnTo>
                  <a:pt x="530683" y="76708"/>
                </a:lnTo>
                <a:lnTo>
                  <a:pt x="530569" y="76254"/>
                </a:lnTo>
                <a:lnTo>
                  <a:pt x="530351" y="75184"/>
                </a:lnTo>
                <a:lnTo>
                  <a:pt x="530569" y="75184"/>
                </a:lnTo>
                <a:lnTo>
                  <a:pt x="530320" y="73533"/>
                </a:lnTo>
                <a:lnTo>
                  <a:pt x="529590" y="70612"/>
                </a:lnTo>
                <a:lnTo>
                  <a:pt x="529209" y="68961"/>
                </a:lnTo>
                <a:lnTo>
                  <a:pt x="528574" y="67437"/>
                </a:lnTo>
                <a:lnTo>
                  <a:pt x="527558" y="66166"/>
                </a:lnTo>
                <a:lnTo>
                  <a:pt x="525399" y="63246"/>
                </a:lnTo>
                <a:lnTo>
                  <a:pt x="524763" y="62357"/>
                </a:lnTo>
                <a:lnTo>
                  <a:pt x="524001" y="61595"/>
                </a:lnTo>
                <a:lnTo>
                  <a:pt x="523240" y="60960"/>
                </a:lnTo>
                <a:lnTo>
                  <a:pt x="519557" y="58038"/>
                </a:lnTo>
                <a:lnTo>
                  <a:pt x="519049" y="57531"/>
                </a:lnTo>
                <a:lnTo>
                  <a:pt x="518541" y="57150"/>
                </a:lnTo>
                <a:lnTo>
                  <a:pt x="517906" y="56896"/>
                </a:lnTo>
                <a:lnTo>
                  <a:pt x="511810" y="53339"/>
                </a:lnTo>
                <a:lnTo>
                  <a:pt x="465200" y="38100"/>
                </a:lnTo>
                <a:lnTo>
                  <a:pt x="424561" y="29845"/>
                </a:lnTo>
                <a:lnTo>
                  <a:pt x="357759" y="20065"/>
                </a:lnTo>
                <a:lnTo>
                  <a:pt x="319659" y="15748"/>
                </a:lnTo>
                <a:lnTo>
                  <a:pt x="278892" y="11811"/>
                </a:lnTo>
                <a:lnTo>
                  <a:pt x="235966" y="8382"/>
                </a:lnTo>
                <a:lnTo>
                  <a:pt x="191008" y="5587"/>
                </a:lnTo>
                <a:lnTo>
                  <a:pt x="144653" y="3175"/>
                </a:lnTo>
                <a:lnTo>
                  <a:pt x="97028" y="1397"/>
                </a:lnTo>
                <a:lnTo>
                  <a:pt x="48768" y="381"/>
                </a:lnTo>
                <a:lnTo>
                  <a:pt x="254" y="0"/>
                </a:lnTo>
                <a:close/>
              </a:path>
              <a:path w="776604" h="198119">
                <a:moveTo>
                  <a:pt x="530694" y="76060"/>
                </a:moveTo>
                <a:lnTo>
                  <a:pt x="530722" y="76254"/>
                </a:lnTo>
                <a:lnTo>
                  <a:pt x="530849" y="76708"/>
                </a:lnTo>
                <a:lnTo>
                  <a:pt x="531149" y="77223"/>
                </a:lnTo>
                <a:lnTo>
                  <a:pt x="530694" y="76060"/>
                </a:lnTo>
                <a:close/>
              </a:path>
              <a:path w="776604" h="198119">
                <a:moveTo>
                  <a:pt x="530584" y="76254"/>
                </a:moveTo>
                <a:lnTo>
                  <a:pt x="530783" y="76682"/>
                </a:lnTo>
                <a:lnTo>
                  <a:pt x="530584" y="76254"/>
                </a:lnTo>
                <a:close/>
              </a:path>
              <a:path w="776604" h="198119">
                <a:moveTo>
                  <a:pt x="530351" y="75184"/>
                </a:moveTo>
                <a:lnTo>
                  <a:pt x="530542" y="76060"/>
                </a:lnTo>
                <a:lnTo>
                  <a:pt x="530615" y="76307"/>
                </a:lnTo>
                <a:lnTo>
                  <a:pt x="530767" y="76567"/>
                </a:lnTo>
                <a:lnTo>
                  <a:pt x="530694" y="76060"/>
                </a:lnTo>
                <a:lnTo>
                  <a:pt x="530351" y="75184"/>
                </a:lnTo>
                <a:close/>
              </a:path>
              <a:path w="776604" h="198119">
                <a:moveTo>
                  <a:pt x="530545" y="76073"/>
                </a:moveTo>
                <a:lnTo>
                  <a:pt x="530584" y="76254"/>
                </a:lnTo>
                <a:lnTo>
                  <a:pt x="530545" y="76073"/>
                </a:lnTo>
                <a:close/>
              </a:path>
              <a:path w="776604" h="198119">
                <a:moveTo>
                  <a:pt x="530569" y="75184"/>
                </a:moveTo>
                <a:lnTo>
                  <a:pt x="530351" y="75184"/>
                </a:lnTo>
                <a:lnTo>
                  <a:pt x="530694" y="76060"/>
                </a:lnTo>
                <a:lnTo>
                  <a:pt x="530569" y="75184"/>
                </a:lnTo>
                <a:close/>
              </a:path>
            </a:pathLst>
          </a:custGeom>
          <a:solidFill>
            <a:srgbClr val="71B0D3"/>
          </a:solidFill>
        </p:spPr>
        <p:txBody>
          <a:bodyPr wrap="square" lIns="0" tIns="0" rIns="0" bIns="0" rtlCol="0"/>
          <a:lstStyle/>
          <a:p>
            <a:endParaRPr sz="2240"/>
          </a:p>
        </p:txBody>
      </p:sp>
    </p:spTree>
    <p:extLst>
      <p:ext uri="{BB962C8B-B14F-4D97-AF65-F5344CB8AC3E}">
        <p14:creationId xmlns:p14="http://schemas.microsoft.com/office/powerpoint/2010/main" val="28007222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5031" y="733959"/>
            <a:ext cx="10740338" cy="689419"/>
          </a:xfrm>
        </p:spPr>
        <p:txBody>
          <a:bodyPr/>
          <a:lstStyle/>
          <a:p>
            <a:r>
              <a:rPr lang="en-GB" dirty="0"/>
              <a:t>Cardiolog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63088" y="1589835"/>
            <a:ext cx="10504221" cy="1661994"/>
          </a:xfrm>
        </p:spPr>
        <p:txBody>
          <a:bodyPr/>
          <a:lstStyle/>
          <a:p>
            <a:r>
              <a:rPr lang="en-US" dirty="0"/>
              <a:t>Cardiology is the branch of medicine that deals with the disorders of the heart. </a:t>
            </a:r>
          </a:p>
          <a:p>
            <a:endParaRPr lang="en-US" dirty="0"/>
          </a:p>
          <a:p>
            <a:r>
              <a:rPr lang="en-US" dirty="0"/>
              <a:t>The field includes medical diagnosis and treatment of heart defects, coronary artery disease and heart failure.</a:t>
            </a:r>
            <a:endParaRPr lang="en-GB" dirty="0"/>
          </a:p>
        </p:txBody>
      </p:sp>
      <p:sp>
        <p:nvSpPr>
          <p:cNvPr id="4" name="object 6"/>
          <p:cNvSpPr/>
          <p:nvPr/>
        </p:nvSpPr>
        <p:spPr>
          <a:xfrm>
            <a:off x="1219200" y="4602480"/>
            <a:ext cx="11657990" cy="213847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</p:spTree>
    <p:extLst>
      <p:ext uri="{BB962C8B-B14F-4D97-AF65-F5344CB8AC3E}">
        <p14:creationId xmlns:p14="http://schemas.microsoft.com/office/powerpoint/2010/main" val="236598048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FCE678-44ED-4FAF-A26F-37BFC1352C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BDE47-A11E-FE42-85BD-DB007C88386C}" type="slidenum">
              <a:rPr lang="en-US" smtClean="0"/>
              <a:t>30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C38800B-32D8-45AB-B94A-6BF3644EEC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57437" y="576262"/>
            <a:ext cx="9915525" cy="7077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104176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7090865"/>
            <a:ext cx="14630397" cy="59497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3" name="object 3"/>
          <p:cNvSpPr/>
          <p:nvPr/>
        </p:nvSpPr>
        <p:spPr>
          <a:xfrm>
            <a:off x="0" y="7316416"/>
            <a:ext cx="14630400" cy="91318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4" name="object 4"/>
          <p:cNvSpPr/>
          <p:nvPr/>
        </p:nvSpPr>
        <p:spPr>
          <a:xfrm>
            <a:off x="12522403" y="7467600"/>
            <a:ext cx="1960474" cy="61447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5" name="object 5"/>
          <p:cNvSpPr/>
          <p:nvPr/>
        </p:nvSpPr>
        <p:spPr>
          <a:xfrm>
            <a:off x="0" y="1"/>
            <a:ext cx="14630400" cy="8229598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6" name="object 6"/>
          <p:cNvSpPr/>
          <p:nvPr/>
        </p:nvSpPr>
        <p:spPr>
          <a:xfrm>
            <a:off x="0" y="0"/>
            <a:ext cx="14630400" cy="8229600"/>
          </a:xfrm>
          <a:custGeom>
            <a:avLst/>
            <a:gdLst/>
            <a:ahLst/>
            <a:cxnLst/>
            <a:rect l="l" t="t" r="r" b="b"/>
            <a:pathLst>
              <a:path w="9144000" h="5143500">
                <a:moveTo>
                  <a:pt x="0" y="5143500"/>
                </a:moveTo>
                <a:lnTo>
                  <a:pt x="9144000" y="5143500"/>
                </a:lnTo>
                <a:lnTo>
                  <a:pt x="9144000" y="0"/>
                </a:lnTo>
                <a:lnTo>
                  <a:pt x="0" y="0"/>
                </a:lnTo>
                <a:lnTo>
                  <a:pt x="0" y="5143500"/>
                </a:lnTo>
                <a:close/>
              </a:path>
            </a:pathLst>
          </a:custGeom>
          <a:solidFill>
            <a:srgbClr val="12203E"/>
          </a:solid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7" name="object 7"/>
          <p:cNvSpPr/>
          <p:nvPr/>
        </p:nvSpPr>
        <p:spPr>
          <a:xfrm>
            <a:off x="0" y="9753"/>
            <a:ext cx="14630400" cy="515233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8" name="object 8"/>
          <p:cNvSpPr/>
          <p:nvPr/>
        </p:nvSpPr>
        <p:spPr>
          <a:xfrm>
            <a:off x="11256132" y="1846752"/>
            <a:ext cx="143256" cy="936752"/>
          </a:xfrm>
          <a:custGeom>
            <a:avLst/>
            <a:gdLst/>
            <a:ahLst/>
            <a:cxnLst/>
            <a:rect l="l" t="t" r="r" b="b"/>
            <a:pathLst>
              <a:path w="89534" h="585469">
                <a:moveTo>
                  <a:pt x="44941" y="0"/>
                </a:moveTo>
                <a:lnTo>
                  <a:pt x="27483" y="3561"/>
                </a:lnTo>
                <a:lnTo>
                  <a:pt x="13194" y="13263"/>
                </a:lnTo>
                <a:lnTo>
                  <a:pt x="3543" y="27626"/>
                </a:lnTo>
                <a:lnTo>
                  <a:pt x="0" y="45176"/>
                </a:lnTo>
                <a:lnTo>
                  <a:pt x="0" y="540546"/>
                </a:lnTo>
                <a:lnTo>
                  <a:pt x="3543" y="557777"/>
                </a:lnTo>
                <a:lnTo>
                  <a:pt x="13194" y="571970"/>
                </a:lnTo>
                <a:lnTo>
                  <a:pt x="27483" y="581602"/>
                </a:lnTo>
                <a:lnTo>
                  <a:pt x="44941" y="585150"/>
                </a:lnTo>
                <a:lnTo>
                  <a:pt x="62089" y="581602"/>
                </a:lnTo>
                <a:lnTo>
                  <a:pt x="76218" y="571970"/>
                </a:lnTo>
                <a:lnTo>
                  <a:pt x="85811" y="557777"/>
                </a:lnTo>
                <a:lnTo>
                  <a:pt x="89346" y="540546"/>
                </a:lnTo>
                <a:lnTo>
                  <a:pt x="89346" y="45176"/>
                </a:lnTo>
                <a:lnTo>
                  <a:pt x="85811" y="27626"/>
                </a:lnTo>
                <a:lnTo>
                  <a:pt x="76218" y="13263"/>
                </a:lnTo>
                <a:lnTo>
                  <a:pt x="62089" y="3561"/>
                </a:lnTo>
                <a:lnTo>
                  <a:pt x="44941" y="0"/>
                </a:lnTo>
                <a:close/>
              </a:path>
            </a:pathLst>
          </a:custGeom>
          <a:solidFill>
            <a:srgbClr val="FDFDFD"/>
          </a:solid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9" name="object 9"/>
          <p:cNvSpPr/>
          <p:nvPr/>
        </p:nvSpPr>
        <p:spPr>
          <a:xfrm>
            <a:off x="12203094" y="1847742"/>
            <a:ext cx="930656" cy="935736"/>
          </a:xfrm>
          <a:custGeom>
            <a:avLst/>
            <a:gdLst/>
            <a:ahLst/>
            <a:cxnLst/>
            <a:rect l="l" t="t" r="r" b="b"/>
            <a:pathLst>
              <a:path w="581659" h="584835">
                <a:moveTo>
                  <a:pt x="290471" y="0"/>
                </a:moveTo>
                <a:lnTo>
                  <a:pt x="243396" y="3842"/>
                </a:lnTo>
                <a:lnTo>
                  <a:pt x="198724" y="14964"/>
                </a:lnTo>
                <a:lnTo>
                  <a:pt x="157057" y="32751"/>
                </a:lnTo>
                <a:lnTo>
                  <a:pt x="118995" y="56594"/>
                </a:lnTo>
                <a:lnTo>
                  <a:pt x="85140" y="85880"/>
                </a:lnTo>
                <a:lnTo>
                  <a:pt x="56092" y="119997"/>
                </a:lnTo>
                <a:lnTo>
                  <a:pt x="32453" y="158334"/>
                </a:lnTo>
                <a:lnTo>
                  <a:pt x="14824" y="200279"/>
                </a:lnTo>
                <a:lnTo>
                  <a:pt x="3806" y="245221"/>
                </a:lnTo>
                <a:lnTo>
                  <a:pt x="0" y="292548"/>
                </a:lnTo>
                <a:lnTo>
                  <a:pt x="3806" y="339861"/>
                </a:lnTo>
                <a:lnTo>
                  <a:pt x="14824" y="384761"/>
                </a:lnTo>
                <a:lnTo>
                  <a:pt x="32453" y="426643"/>
                </a:lnTo>
                <a:lnTo>
                  <a:pt x="56092" y="464904"/>
                </a:lnTo>
                <a:lnTo>
                  <a:pt x="85140" y="498937"/>
                </a:lnTo>
                <a:lnTo>
                  <a:pt x="118995" y="528139"/>
                </a:lnTo>
                <a:lnTo>
                  <a:pt x="157057" y="551904"/>
                </a:lnTo>
                <a:lnTo>
                  <a:pt x="198724" y="569628"/>
                </a:lnTo>
                <a:lnTo>
                  <a:pt x="243396" y="580706"/>
                </a:lnTo>
                <a:lnTo>
                  <a:pt x="290471" y="584532"/>
                </a:lnTo>
                <a:lnTo>
                  <a:pt x="337107" y="580737"/>
                </a:lnTo>
                <a:lnTo>
                  <a:pt x="381999" y="569619"/>
                </a:lnTo>
                <a:lnTo>
                  <a:pt x="424365" y="551582"/>
                </a:lnTo>
                <a:lnTo>
                  <a:pt x="463421" y="527027"/>
                </a:lnTo>
                <a:lnTo>
                  <a:pt x="498384" y="496358"/>
                </a:lnTo>
                <a:lnTo>
                  <a:pt x="499726" y="494736"/>
                </a:lnTo>
                <a:lnTo>
                  <a:pt x="290471" y="494736"/>
                </a:lnTo>
                <a:lnTo>
                  <a:pt x="244101" y="489340"/>
                </a:lnTo>
                <a:lnTo>
                  <a:pt x="201486" y="473967"/>
                </a:lnTo>
                <a:lnTo>
                  <a:pt x="163894" y="449839"/>
                </a:lnTo>
                <a:lnTo>
                  <a:pt x="132595" y="418180"/>
                </a:lnTo>
                <a:lnTo>
                  <a:pt x="108859" y="380213"/>
                </a:lnTo>
                <a:lnTo>
                  <a:pt x="93955" y="337160"/>
                </a:lnTo>
                <a:lnTo>
                  <a:pt x="537152" y="337160"/>
                </a:lnTo>
                <a:lnTo>
                  <a:pt x="554288" y="333611"/>
                </a:lnTo>
                <a:lnTo>
                  <a:pt x="568391" y="323979"/>
                </a:lnTo>
                <a:lnTo>
                  <a:pt x="577957" y="309784"/>
                </a:lnTo>
                <a:lnTo>
                  <a:pt x="581480" y="292548"/>
                </a:lnTo>
                <a:lnTo>
                  <a:pt x="581480" y="287914"/>
                </a:lnTo>
                <a:lnTo>
                  <a:pt x="580942" y="285598"/>
                </a:lnTo>
                <a:lnTo>
                  <a:pt x="577063" y="247364"/>
                </a:lnTo>
                <a:lnTo>
                  <a:pt x="93955" y="247364"/>
                </a:lnTo>
                <a:lnTo>
                  <a:pt x="108859" y="204514"/>
                </a:lnTo>
                <a:lnTo>
                  <a:pt x="132595" y="166608"/>
                </a:lnTo>
                <a:lnTo>
                  <a:pt x="163894" y="134914"/>
                </a:lnTo>
                <a:lnTo>
                  <a:pt x="201486" y="110704"/>
                </a:lnTo>
                <a:lnTo>
                  <a:pt x="244101" y="95246"/>
                </a:lnTo>
                <a:lnTo>
                  <a:pt x="290471" y="89811"/>
                </a:lnTo>
                <a:lnTo>
                  <a:pt x="499135" y="89811"/>
                </a:lnTo>
                <a:lnTo>
                  <a:pt x="493612" y="83490"/>
                </a:lnTo>
                <a:lnTo>
                  <a:pt x="459922" y="54981"/>
                </a:lnTo>
                <a:lnTo>
                  <a:pt x="422181" y="31797"/>
                </a:lnTo>
                <a:lnTo>
                  <a:pt x="380971" y="14519"/>
                </a:lnTo>
                <a:lnTo>
                  <a:pt x="336874" y="3726"/>
                </a:lnTo>
                <a:lnTo>
                  <a:pt x="290471" y="0"/>
                </a:lnTo>
                <a:close/>
              </a:path>
              <a:path w="581659" h="584835">
                <a:moveTo>
                  <a:pt x="484249" y="390165"/>
                </a:moveTo>
                <a:lnTo>
                  <a:pt x="468245" y="396194"/>
                </a:lnTo>
                <a:lnTo>
                  <a:pt x="455258" y="408415"/>
                </a:lnTo>
                <a:lnTo>
                  <a:pt x="422963" y="444877"/>
                </a:lnTo>
                <a:lnTo>
                  <a:pt x="383466" y="471998"/>
                </a:lnTo>
                <a:lnTo>
                  <a:pt x="338668" y="488907"/>
                </a:lnTo>
                <a:lnTo>
                  <a:pt x="290471" y="494736"/>
                </a:lnTo>
                <a:lnTo>
                  <a:pt x="499726" y="494736"/>
                </a:lnTo>
                <a:lnTo>
                  <a:pt x="528471" y="459978"/>
                </a:lnTo>
                <a:lnTo>
                  <a:pt x="535431" y="443692"/>
                </a:lnTo>
                <a:lnTo>
                  <a:pt x="535750" y="426592"/>
                </a:lnTo>
                <a:lnTo>
                  <a:pt x="529703" y="410688"/>
                </a:lnTo>
                <a:lnTo>
                  <a:pt x="517562" y="397990"/>
                </a:lnTo>
                <a:lnTo>
                  <a:pt x="501334" y="390655"/>
                </a:lnTo>
                <a:lnTo>
                  <a:pt x="484249" y="390165"/>
                </a:lnTo>
                <a:close/>
              </a:path>
              <a:path w="581659" h="584835">
                <a:moveTo>
                  <a:pt x="499135" y="89811"/>
                </a:moveTo>
                <a:lnTo>
                  <a:pt x="290471" y="89811"/>
                </a:lnTo>
                <a:lnTo>
                  <a:pt x="336835" y="95246"/>
                </a:lnTo>
                <a:lnTo>
                  <a:pt x="379438" y="110704"/>
                </a:lnTo>
                <a:lnTo>
                  <a:pt x="417019" y="134914"/>
                </a:lnTo>
                <a:lnTo>
                  <a:pt x="448312" y="166608"/>
                </a:lnTo>
                <a:lnTo>
                  <a:pt x="472056" y="204514"/>
                </a:lnTo>
                <a:lnTo>
                  <a:pt x="486986" y="247364"/>
                </a:lnTo>
                <a:lnTo>
                  <a:pt x="577063" y="247364"/>
                </a:lnTo>
                <a:lnTo>
                  <a:pt x="576231" y="239169"/>
                </a:lnTo>
                <a:lnTo>
                  <a:pt x="564561" y="195164"/>
                </a:lnTo>
                <a:lnTo>
                  <a:pt x="546514" y="154162"/>
                </a:lnTo>
                <a:lnTo>
                  <a:pt x="522670" y="116744"/>
                </a:lnTo>
                <a:lnTo>
                  <a:pt x="499135" y="89811"/>
                </a:lnTo>
                <a:close/>
              </a:path>
            </a:pathLst>
          </a:custGeom>
          <a:solidFill>
            <a:srgbClr val="FDFDFD"/>
          </a:solid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0" name="object 10"/>
          <p:cNvSpPr/>
          <p:nvPr/>
        </p:nvSpPr>
        <p:spPr>
          <a:xfrm>
            <a:off x="13099415" y="1846753"/>
            <a:ext cx="201830" cy="103912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1" name="object 11"/>
          <p:cNvSpPr/>
          <p:nvPr/>
        </p:nvSpPr>
        <p:spPr>
          <a:xfrm>
            <a:off x="11576090" y="1846752"/>
            <a:ext cx="653288" cy="936752"/>
          </a:xfrm>
          <a:custGeom>
            <a:avLst/>
            <a:gdLst/>
            <a:ahLst/>
            <a:cxnLst/>
            <a:rect l="l" t="t" r="r" b="b"/>
            <a:pathLst>
              <a:path w="408304" h="585469">
                <a:moveTo>
                  <a:pt x="363684" y="0"/>
                </a:moveTo>
                <a:lnTo>
                  <a:pt x="231700" y="0"/>
                </a:lnTo>
                <a:lnTo>
                  <a:pt x="184998" y="4756"/>
                </a:lnTo>
                <a:lnTo>
                  <a:pt x="141502" y="18386"/>
                </a:lnTo>
                <a:lnTo>
                  <a:pt x="102144" y="39934"/>
                </a:lnTo>
                <a:lnTo>
                  <a:pt x="67854" y="68440"/>
                </a:lnTo>
                <a:lnTo>
                  <a:pt x="39564" y="102949"/>
                </a:lnTo>
                <a:lnTo>
                  <a:pt x="18204" y="142503"/>
                </a:lnTo>
                <a:lnTo>
                  <a:pt x="4706" y="186144"/>
                </a:lnTo>
                <a:lnTo>
                  <a:pt x="0" y="232915"/>
                </a:lnTo>
                <a:lnTo>
                  <a:pt x="0" y="540546"/>
                </a:lnTo>
                <a:lnTo>
                  <a:pt x="3448" y="557777"/>
                </a:lnTo>
                <a:lnTo>
                  <a:pt x="12896" y="571970"/>
                </a:lnTo>
                <a:lnTo>
                  <a:pt x="26997" y="581602"/>
                </a:lnTo>
                <a:lnTo>
                  <a:pt x="44404" y="585150"/>
                </a:lnTo>
                <a:lnTo>
                  <a:pt x="61766" y="581602"/>
                </a:lnTo>
                <a:lnTo>
                  <a:pt x="75844" y="571970"/>
                </a:lnTo>
                <a:lnTo>
                  <a:pt x="85284" y="557777"/>
                </a:lnTo>
                <a:lnTo>
                  <a:pt x="88731" y="540546"/>
                </a:lnTo>
                <a:lnTo>
                  <a:pt x="88731" y="232915"/>
                </a:lnTo>
                <a:lnTo>
                  <a:pt x="96018" y="187776"/>
                </a:lnTo>
                <a:lnTo>
                  <a:pt x="116311" y="148505"/>
                </a:lnTo>
                <a:lnTo>
                  <a:pt x="147258" y="117492"/>
                </a:lnTo>
                <a:lnTo>
                  <a:pt x="186505" y="97130"/>
                </a:lnTo>
                <a:lnTo>
                  <a:pt x="231700" y="89811"/>
                </a:lnTo>
                <a:lnTo>
                  <a:pt x="363684" y="89811"/>
                </a:lnTo>
                <a:lnTo>
                  <a:pt x="380819" y="86269"/>
                </a:lnTo>
                <a:lnTo>
                  <a:pt x="394922" y="76644"/>
                </a:lnTo>
                <a:lnTo>
                  <a:pt x="404488" y="62445"/>
                </a:lnTo>
                <a:lnTo>
                  <a:pt x="408011" y="45176"/>
                </a:lnTo>
                <a:lnTo>
                  <a:pt x="404488" y="27626"/>
                </a:lnTo>
                <a:lnTo>
                  <a:pt x="394922" y="13263"/>
                </a:lnTo>
                <a:lnTo>
                  <a:pt x="380819" y="3561"/>
                </a:lnTo>
                <a:lnTo>
                  <a:pt x="363684" y="0"/>
                </a:lnTo>
                <a:close/>
              </a:path>
            </a:pathLst>
          </a:custGeom>
          <a:solidFill>
            <a:srgbClr val="FDFDFD"/>
          </a:solid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2" name="object 12"/>
          <p:cNvSpPr/>
          <p:nvPr/>
        </p:nvSpPr>
        <p:spPr>
          <a:xfrm>
            <a:off x="10149623" y="1847742"/>
            <a:ext cx="929640" cy="935736"/>
          </a:xfrm>
          <a:custGeom>
            <a:avLst/>
            <a:gdLst/>
            <a:ahLst/>
            <a:cxnLst/>
            <a:rect l="l" t="t" r="r" b="b"/>
            <a:pathLst>
              <a:path w="581025" h="584835">
                <a:moveTo>
                  <a:pt x="290471" y="0"/>
                </a:moveTo>
                <a:lnTo>
                  <a:pt x="243414" y="3842"/>
                </a:lnTo>
                <a:lnTo>
                  <a:pt x="198753" y="14964"/>
                </a:lnTo>
                <a:lnTo>
                  <a:pt x="157090" y="32751"/>
                </a:lnTo>
                <a:lnTo>
                  <a:pt x="119028" y="56594"/>
                </a:lnTo>
                <a:lnTo>
                  <a:pt x="85168" y="85880"/>
                </a:lnTo>
                <a:lnTo>
                  <a:pt x="56114" y="119997"/>
                </a:lnTo>
                <a:lnTo>
                  <a:pt x="32468" y="158334"/>
                </a:lnTo>
                <a:lnTo>
                  <a:pt x="14831" y="200279"/>
                </a:lnTo>
                <a:lnTo>
                  <a:pt x="3808" y="245221"/>
                </a:lnTo>
                <a:lnTo>
                  <a:pt x="0" y="292548"/>
                </a:lnTo>
                <a:lnTo>
                  <a:pt x="3808" y="339861"/>
                </a:lnTo>
                <a:lnTo>
                  <a:pt x="14831" y="384761"/>
                </a:lnTo>
                <a:lnTo>
                  <a:pt x="32468" y="426643"/>
                </a:lnTo>
                <a:lnTo>
                  <a:pt x="56114" y="464904"/>
                </a:lnTo>
                <a:lnTo>
                  <a:pt x="85168" y="498937"/>
                </a:lnTo>
                <a:lnTo>
                  <a:pt x="119028" y="528139"/>
                </a:lnTo>
                <a:lnTo>
                  <a:pt x="157090" y="551904"/>
                </a:lnTo>
                <a:lnTo>
                  <a:pt x="198753" y="569628"/>
                </a:lnTo>
                <a:lnTo>
                  <a:pt x="243414" y="580706"/>
                </a:lnTo>
                <a:lnTo>
                  <a:pt x="290471" y="584532"/>
                </a:lnTo>
                <a:lnTo>
                  <a:pt x="336505" y="580871"/>
                </a:lnTo>
                <a:lnTo>
                  <a:pt x="380223" y="570258"/>
                </a:lnTo>
                <a:lnTo>
                  <a:pt x="421098" y="553248"/>
                </a:lnTo>
                <a:lnTo>
                  <a:pt x="458603" y="530399"/>
                </a:lnTo>
                <a:lnTo>
                  <a:pt x="492210" y="502266"/>
                </a:lnTo>
                <a:lnTo>
                  <a:pt x="580942" y="502266"/>
                </a:lnTo>
                <a:lnTo>
                  <a:pt x="580942" y="494736"/>
                </a:lnTo>
                <a:lnTo>
                  <a:pt x="290471" y="494736"/>
                </a:lnTo>
                <a:lnTo>
                  <a:pt x="244269" y="489404"/>
                </a:lnTo>
                <a:lnTo>
                  <a:pt x="201828" y="474211"/>
                </a:lnTo>
                <a:lnTo>
                  <a:pt x="164367" y="450364"/>
                </a:lnTo>
                <a:lnTo>
                  <a:pt x="133107" y="419068"/>
                </a:lnTo>
                <a:lnTo>
                  <a:pt x="109267" y="381530"/>
                </a:lnTo>
                <a:lnTo>
                  <a:pt x="94068" y="338954"/>
                </a:lnTo>
                <a:lnTo>
                  <a:pt x="88731" y="292548"/>
                </a:lnTo>
                <a:lnTo>
                  <a:pt x="94068" y="246111"/>
                </a:lnTo>
                <a:lnTo>
                  <a:pt x="109267" y="203457"/>
                </a:lnTo>
                <a:lnTo>
                  <a:pt x="133107" y="165812"/>
                </a:lnTo>
                <a:lnTo>
                  <a:pt x="164367" y="134399"/>
                </a:lnTo>
                <a:lnTo>
                  <a:pt x="201828" y="110445"/>
                </a:lnTo>
                <a:lnTo>
                  <a:pt x="244269" y="95174"/>
                </a:lnTo>
                <a:lnTo>
                  <a:pt x="290471" y="89811"/>
                </a:lnTo>
                <a:lnTo>
                  <a:pt x="499121" y="89811"/>
                </a:lnTo>
                <a:lnTo>
                  <a:pt x="495773" y="85880"/>
                </a:lnTo>
                <a:lnTo>
                  <a:pt x="461913" y="56594"/>
                </a:lnTo>
                <a:lnTo>
                  <a:pt x="423851" y="32751"/>
                </a:lnTo>
                <a:lnTo>
                  <a:pt x="382188" y="14964"/>
                </a:lnTo>
                <a:lnTo>
                  <a:pt x="337527" y="3842"/>
                </a:lnTo>
                <a:lnTo>
                  <a:pt x="290471" y="0"/>
                </a:lnTo>
                <a:close/>
              </a:path>
              <a:path w="581025" h="584835">
                <a:moveTo>
                  <a:pt x="580942" y="502266"/>
                </a:moveTo>
                <a:lnTo>
                  <a:pt x="492210" y="502266"/>
                </a:lnTo>
                <a:lnTo>
                  <a:pt x="492210" y="539928"/>
                </a:lnTo>
                <a:lnTo>
                  <a:pt x="495658" y="557160"/>
                </a:lnTo>
                <a:lnTo>
                  <a:pt x="505097" y="571352"/>
                </a:lnTo>
                <a:lnTo>
                  <a:pt x="519175" y="580984"/>
                </a:lnTo>
                <a:lnTo>
                  <a:pt x="536538" y="584532"/>
                </a:lnTo>
                <a:lnTo>
                  <a:pt x="553944" y="580984"/>
                </a:lnTo>
                <a:lnTo>
                  <a:pt x="568045" y="571352"/>
                </a:lnTo>
                <a:lnTo>
                  <a:pt x="577493" y="557160"/>
                </a:lnTo>
                <a:lnTo>
                  <a:pt x="580942" y="539928"/>
                </a:lnTo>
                <a:lnTo>
                  <a:pt x="580942" y="502266"/>
                </a:lnTo>
                <a:close/>
              </a:path>
              <a:path w="581025" h="584835">
                <a:moveTo>
                  <a:pt x="499121" y="89811"/>
                </a:moveTo>
                <a:lnTo>
                  <a:pt x="290471" y="89811"/>
                </a:lnTo>
                <a:lnTo>
                  <a:pt x="336672" y="95174"/>
                </a:lnTo>
                <a:lnTo>
                  <a:pt x="379113" y="110445"/>
                </a:lnTo>
                <a:lnTo>
                  <a:pt x="416574" y="134399"/>
                </a:lnTo>
                <a:lnTo>
                  <a:pt x="447835" y="165812"/>
                </a:lnTo>
                <a:lnTo>
                  <a:pt x="471674" y="203457"/>
                </a:lnTo>
                <a:lnTo>
                  <a:pt x="486873" y="246111"/>
                </a:lnTo>
                <a:lnTo>
                  <a:pt x="492210" y="292548"/>
                </a:lnTo>
                <a:lnTo>
                  <a:pt x="486873" y="338954"/>
                </a:lnTo>
                <a:lnTo>
                  <a:pt x="471674" y="381530"/>
                </a:lnTo>
                <a:lnTo>
                  <a:pt x="447835" y="419068"/>
                </a:lnTo>
                <a:lnTo>
                  <a:pt x="416574" y="450364"/>
                </a:lnTo>
                <a:lnTo>
                  <a:pt x="379113" y="474211"/>
                </a:lnTo>
                <a:lnTo>
                  <a:pt x="336672" y="489404"/>
                </a:lnTo>
                <a:lnTo>
                  <a:pt x="290471" y="494736"/>
                </a:lnTo>
                <a:lnTo>
                  <a:pt x="580942" y="494736"/>
                </a:lnTo>
                <a:lnTo>
                  <a:pt x="580942" y="292548"/>
                </a:lnTo>
                <a:lnTo>
                  <a:pt x="577133" y="245221"/>
                </a:lnTo>
                <a:lnTo>
                  <a:pt x="566110" y="200279"/>
                </a:lnTo>
                <a:lnTo>
                  <a:pt x="548474" y="158334"/>
                </a:lnTo>
                <a:lnTo>
                  <a:pt x="524827" y="119997"/>
                </a:lnTo>
                <a:lnTo>
                  <a:pt x="499121" y="89811"/>
                </a:lnTo>
                <a:close/>
              </a:path>
            </a:pathLst>
          </a:custGeom>
          <a:solidFill>
            <a:srgbClr val="FDFDFD"/>
          </a:solid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3" name="object 13"/>
          <p:cNvSpPr/>
          <p:nvPr/>
        </p:nvSpPr>
        <p:spPr>
          <a:xfrm>
            <a:off x="7939430" y="1847742"/>
            <a:ext cx="1121664" cy="935736"/>
          </a:xfrm>
          <a:custGeom>
            <a:avLst/>
            <a:gdLst/>
            <a:ahLst/>
            <a:cxnLst/>
            <a:rect l="l" t="t" r="r" b="b"/>
            <a:pathLst>
              <a:path w="701039" h="584835">
                <a:moveTo>
                  <a:pt x="0" y="0"/>
                </a:moveTo>
                <a:lnTo>
                  <a:pt x="306012" y="558462"/>
                </a:lnTo>
                <a:lnTo>
                  <a:pt x="337051" y="582496"/>
                </a:lnTo>
                <a:lnTo>
                  <a:pt x="350386" y="584532"/>
                </a:lnTo>
                <a:lnTo>
                  <a:pt x="363714" y="582496"/>
                </a:lnTo>
                <a:lnTo>
                  <a:pt x="376177" y="576930"/>
                </a:lnTo>
                <a:lnTo>
                  <a:pt x="386696" y="568647"/>
                </a:lnTo>
                <a:lnTo>
                  <a:pt x="394191" y="558462"/>
                </a:lnTo>
                <a:lnTo>
                  <a:pt x="451755" y="453607"/>
                </a:lnTo>
                <a:lnTo>
                  <a:pt x="350386" y="453607"/>
                </a:lnTo>
                <a:lnTo>
                  <a:pt x="152718" y="94445"/>
                </a:lnTo>
                <a:lnTo>
                  <a:pt x="129989" y="57664"/>
                </a:lnTo>
                <a:lnTo>
                  <a:pt x="100561" y="27646"/>
                </a:lnTo>
                <a:lnTo>
                  <a:pt x="59032" y="7415"/>
                </a:lnTo>
                <a:lnTo>
                  <a:pt x="0" y="0"/>
                </a:lnTo>
                <a:close/>
              </a:path>
              <a:path w="701039" h="584835">
                <a:moveTo>
                  <a:pt x="700779" y="0"/>
                </a:moveTo>
                <a:lnTo>
                  <a:pt x="641409" y="7415"/>
                </a:lnTo>
                <a:lnTo>
                  <a:pt x="599708" y="27646"/>
                </a:lnTo>
                <a:lnTo>
                  <a:pt x="570219" y="57664"/>
                </a:lnTo>
                <a:lnTo>
                  <a:pt x="547485" y="94445"/>
                </a:lnTo>
                <a:lnTo>
                  <a:pt x="350386" y="453607"/>
                </a:lnTo>
                <a:lnTo>
                  <a:pt x="451755" y="453607"/>
                </a:lnTo>
                <a:lnTo>
                  <a:pt x="700779" y="0"/>
                </a:lnTo>
                <a:close/>
              </a:path>
            </a:pathLst>
          </a:custGeom>
          <a:solidFill>
            <a:srgbClr val="FDFDFD"/>
          </a:solid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4" name="object 14"/>
          <p:cNvSpPr/>
          <p:nvPr/>
        </p:nvSpPr>
        <p:spPr>
          <a:xfrm>
            <a:off x="9103085" y="1847742"/>
            <a:ext cx="1121664" cy="1205992"/>
          </a:xfrm>
          <a:custGeom>
            <a:avLst/>
            <a:gdLst/>
            <a:ahLst/>
            <a:cxnLst/>
            <a:rect l="l" t="t" r="r" b="b"/>
            <a:pathLst>
              <a:path w="701039" h="753744">
                <a:moveTo>
                  <a:pt x="0" y="0"/>
                </a:moveTo>
                <a:lnTo>
                  <a:pt x="299697" y="546299"/>
                </a:lnTo>
                <a:lnTo>
                  <a:pt x="186151" y="753121"/>
                </a:lnTo>
                <a:lnTo>
                  <a:pt x="245285" y="745697"/>
                </a:lnTo>
                <a:lnTo>
                  <a:pt x="287012" y="725456"/>
                </a:lnTo>
                <a:lnTo>
                  <a:pt x="316624" y="695440"/>
                </a:lnTo>
                <a:lnTo>
                  <a:pt x="339415" y="658691"/>
                </a:lnTo>
                <a:lnTo>
                  <a:pt x="451931" y="453607"/>
                </a:lnTo>
                <a:lnTo>
                  <a:pt x="350401" y="453607"/>
                </a:lnTo>
                <a:lnTo>
                  <a:pt x="153271" y="94445"/>
                </a:lnTo>
                <a:lnTo>
                  <a:pt x="130220" y="57664"/>
                </a:lnTo>
                <a:lnTo>
                  <a:pt x="100636" y="27646"/>
                </a:lnTo>
                <a:lnTo>
                  <a:pt x="59052" y="7415"/>
                </a:lnTo>
                <a:lnTo>
                  <a:pt x="0" y="0"/>
                </a:lnTo>
                <a:close/>
              </a:path>
              <a:path w="701039" h="753744">
                <a:moveTo>
                  <a:pt x="700795" y="0"/>
                </a:moveTo>
                <a:lnTo>
                  <a:pt x="641433" y="7415"/>
                </a:lnTo>
                <a:lnTo>
                  <a:pt x="599723" y="27646"/>
                </a:lnTo>
                <a:lnTo>
                  <a:pt x="570215" y="57664"/>
                </a:lnTo>
                <a:lnTo>
                  <a:pt x="547454" y="94445"/>
                </a:lnTo>
                <a:lnTo>
                  <a:pt x="350401" y="453607"/>
                </a:lnTo>
                <a:lnTo>
                  <a:pt x="451931" y="453607"/>
                </a:lnTo>
                <a:lnTo>
                  <a:pt x="700795" y="0"/>
                </a:lnTo>
                <a:close/>
              </a:path>
            </a:pathLst>
          </a:custGeom>
          <a:solidFill>
            <a:srgbClr val="FDFDFD"/>
          </a:solid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5" name="object 15"/>
          <p:cNvSpPr/>
          <p:nvPr/>
        </p:nvSpPr>
        <p:spPr>
          <a:xfrm>
            <a:off x="10136717" y="3050882"/>
            <a:ext cx="240674" cy="207629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6" name="object 16"/>
          <p:cNvSpPr/>
          <p:nvPr/>
        </p:nvSpPr>
        <p:spPr>
          <a:xfrm>
            <a:off x="10697346" y="3239769"/>
            <a:ext cx="131064" cy="19304"/>
          </a:xfrm>
          <a:custGeom>
            <a:avLst/>
            <a:gdLst/>
            <a:ahLst/>
            <a:cxnLst/>
            <a:rect l="l" t="t" r="r" b="b"/>
            <a:pathLst>
              <a:path w="81915" h="12064">
                <a:moveTo>
                  <a:pt x="0" y="11459"/>
                </a:moveTo>
                <a:lnTo>
                  <a:pt x="81817" y="11459"/>
                </a:lnTo>
                <a:lnTo>
                  <a:pt x="81817" y="0"/>
                </a:lnTo>
                <a:lnTo>
                  <a:pt x="0" y="0"/>
                </a:lnTo>
                <a:lnTo>
                  <a:pt x="0" y="11459"/>
                </a:lnTo>
                <a:close/>
              </a:path>
            </a:pathLst>
          </a:custGeom>
          <a:solidFill>
            <a:srgbClr val="00A4DC"/>
          </a:solid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7" name="object 17"/>
          <p:cNvSpPr/>
          <p:nvPr/>
        </p:nvSpPr>
        <p:spPr>
          <a:xfrm>
            <a:off x="10697346" y="3160314"/>
            <a:ext cx="24384" cy="80264"/>
          </a:xfrm>
          <a:custGeom>
            <a:avLst/>
            <a:gdLst/>
            <a:ahLst/>
            <a:cxnLst/>
            <a:rect l="l" t="t" r="r" b="b"/>
            <a:pathLst>
              <a:path w="15240" h="50164">
                <a:moveTo>
                  <a:pt x="0" y="49658"/>
                </a:moveTo>
                <a:lnTo>
                  <a:pt x="14980" y="49658"/>
                </a:lnTo>
                <a:lnTo>
                  <a:pt x="14980" y="0"/>
                </a:lnTo>
                <a:lnTo>
                  <a:pt x="0" y="0"/>
                </a:lnTo>
                <a:lnTo>
                  <a:pt x="0" y="49658"/>
                </a:lnTo>
                <a:close/>
              </a:path>
            </a:pathLst>
          </a:custGeom>
          <a:solidFill>
            <a:srgbClr val="00A4DC"/>
          </a:solid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8" name="object 18"/>
          <p:cNvSpPr/>
          <p:nvPr/>
        </p:nvSpPr>
        <p:spPr>
          <a:xfrm>
            <a:off x="10697346" y="3139942"/>
            <a:ext cx="119888" cy="21336"/>
          </a:xfrm>
          <a:custGeom>
            <a:avLst/>
            <a:gdLst/>
            <a:ahLst/>
            <a:cxnLst/>
            <a:rect l="l" t="t" r="r" b="b"/>
            <a:pathLst>
              <a:path w="74929" h="13335">
                <a:moveTo>
                  <a:pt x="0" y="12733"/>
                </a:moveTo>
                <a:lnTo>
                  <a:pt x="74903" y="12733"/>
                </a:lnTo>
                <a:lnTo>
                  <a:pt x="74903" y="0"/>
                </a:lnTo>
                <a:lnTo>
                  <a:pt x="0" y="0"/>
                </a:lnTo>
                <a:lnTo>
                  <a:pt x="0" y="12733"/>
                </a:lnTo>
                <a:close/>
              </a:path>
            </a:pathLst>
          </a:custGeom>
          <a:solidFill>
            <a:srgbClr val="00A4DC"/>
          </a:solid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9" name="object 19"/>
          <p:cNvSpPr/>
          <p:nvPr/>
        </p:nvSpPr>
        <p:spPr>
          <a:xfrm>
            <a:off x="10697346" y="3068636"/>
            <a:ext cx="24384" cy="72136"/>
          </a:xfrm>
          <a:custGeom>
            <a:avLst/>
            <a:gdLst/>
            <a:ahLst/>
            <a:cxnLst/>
            <a:rect l="l" t="t" r="r" b="b"/>
            <a:pathLst>
              <a:path w="15240" h="45085">
                <a:moveTo>
                  <a:pt x="0" y="44565"/>
                </a:moveTo>
                <a:lnTo>
                  <a:pt x="14980" y="44565"/>
                </a:lnTo>
                <a:lnTo>
                  <a:pt x="14980" y="0"/>
                </a:lnTo>
                <a:lnTo>
                  <a:pt x="0" y="0"/>
                </a:lnTo>
                <a:lnTo>
                  <a:pt x="0" y="44565"/>
                </a:lnTo>
                <a:close/>
              </a:path>
            </a:pathLst>
          </a:custGeom>
          <a:solidFill>
            <a:srgbClr val="00A4DC"/>
          </a:solid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20" name="object 20"/>
          <p:cNvSpPr/>
          <p:nvPr/>
        </p:nvSpPr>
        <p:spPr>
          <a:xfrm>
            <a:off x="10697346" y="3050302"/>
            <a:ext cx="129032" cy="19304"/>
          </a:xfrm>
          <a:custGeom>
            <a:avLst/>
            <a:gdLst/>
            <a:ahLst/>
            <a:cxnLst/>
            <a:rect l="l" t="t" r="r" b="b"/>
            <a:pathLst>
              <a:path w="80645" h="12064">
                <a:moveTo>
                  <a:pt x="0" y="11459"/>
                </a:moveTo>
                <a:lnTo>
                  <a:pt x="80127" y="11459"/>
                </a:lnTo>
                <a:lnTo>
                  <a:pt x="80127" y="0"/>
                </a:lnTo>
                <a:lnTo>
                  <a:pt x="0" y="0"/>
                </a:lnTo>
                <a:lnTo>
                  <a:pt x="0" y="11459"/>
                </a:lnTo>
                <a:close/>
              </a:path>
            </a:pathLst>
          </a:custGeom>
          <a:solidFill>
            <a:srgbClr val="00A4DC"/>
          </a:solid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21" name="object 21"/>
          <p:cNvSpPr/>
          <p:nvPr/>
        </p:nvSpPr>
        <p:spPr>
          <a:xfrm>
            <a:off x="11156569" y="3050882"/>
            <a:ext cx="162251" cy="207629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22" name="object 22"/>
          <p:cNvSpPr/>
          <p:nvPr/>
        </p:nvSpPr>
        <p:spPr>
          <a:xfrm>
            <a:off x="11653589" y="3050882"/>
            <a:ext cx="0" cy="208280"/>
          </a:xfrm>
          <a:custGeom>
            <a:avLst/>
            <a:gdLst/>
            <a:ahLst/>
            <a:cxnLst/>
            <a:rect l="l" t="t" r="r" b="b"/>
            <a:pathLst>
              <a:path h="130175">
                <a:moveTo>
                  <a:pt x="0" y="0"/>
                </a:moveTo>
                <a:lnTo>
                  <a:pt x="0" y="129768"/>
                </a:lnTo>
              </a:path>
            </a:pathLst>
          </a:custGeom>
          <a:ln w="14980">
            <a:solidFill>
              <a:srgbClr val="00A4DC"/>
            </a:solidFill>
          </a:ln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23" name="object 23"/>
          <p:cNvSpPr/>
          <p:nvPr/>
        </p:nvSpPr>
        <p:spPr>
          <a:xfrm>
            <a:off x="12000280" y="3049028"/>
            <a:ext cx="147501" cy="211336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24" name="object 24"/>
          <p:cNvSpPr/>
          <p:nvPr/>
        </p:nvSpPr>
        <p:spPr>
          <a:xfrm>
            <a:off x="12477941" y="3049027"/>
            <a:ext cx="188925" cy="209482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25" name="object 25"/>
          <p:cNvSpPr/>
          <p:nvPr/>
        </p:nvSpPr>
        <p:spPr>
          <a:xfrm>
            <a:off x="12996041" y="3239769"/>
            <a:ext cx="131064" cy="19304"/>
          </a:xfrm>
          <a:custGeom>
            <a:avLst/>
            <a:gdLst/>
            <a:ahLst/>
            <a:cxnLst/>
            <a:rect l="l" t="t" r="r" b="b"/>
            <a:pathLst>
              <a:path w="81915" h="12064">
                <a:moveTo>
                  <a:pt x="0" y="11459"/>
                </a:moveTo>
                <a:lnTo>
                  <a:pt x="81894" y="11459"/>
                </a:lnTo>
                <a:lnTo>
                  <a:pt x="81894" y="0"/>
                </a:lnTo>
                <a:lnTo>
                  <a:pt x="0" y="0"/>
                </a:lnTo>
                <a:lnTo>
                  <a:pt x="0" y="11459"/>
                </a:lnTo>
                <a:close/>
              </a:path>
            </a:pathLst>
          </a:custGeom>
          <a:solidFill>
            <a:srgbClr val="00A4DC"/>
          </a:solid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26" name="object 26"/>
          <p:cNvSpPr/>
          <p:nvPr/>
        </p:nvSpPr>
        <p:spPr>
          <a:xfrm>
            <a:off x="13007595" y="3050302"/>
            <a:ext cx="0" cy="189992"/>
          </a:xfrm>
          <a:custGeom>
            <a:avLst/>
            <a:gdLst/>
            <a:ahLst/>
            <a:cxnLst/>
            <a:rect l="l" t="t" r="r" b="b"/>
            <a:pathLst>
              <a:path h="118744">
                <a:moveTo>
                  <a:pt x="0" y="0"/>
                </a:moveTo>
                <a:lnTo>
                  <a:pt x="0" y="118416"/>
                </a:lnTo>
              </a:path>
            </a:pathLst>
          </a:custGeom>
          <a:ln w="14442">
            <a:solidFill>
              <a:srgbClr val="00A4DC"/>
            </a:solidFill>
          </a:ln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27" name="object 27"/>
          <p:cNvSpPr/>
          <p:nvPr/>
        </p:nvSpPr>
        <p:spPr>
          <a:xfrm>
            <a:off x="0" y="1"/>
            <a:ext cx="14630400" cy="8229595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28" name="object 28"/>
          <p:cNvSpPr txBox="1">
            <a:spLocks noGrp="1"/>
          </p:cNvSpPr>
          <p:nvPr>
            <p:ph type="title"/>
          </p:nvPr>
        </p:nvSpPr>
        <p:spPr>
          <a:xfrm>
            <a:off x="2778150" y="1112889"/>
            <a:ext cx="3560064" cy="784830"/>
          </a:xfrm>
          <a:prstGeom prst="rect">
            <a:avLst/>
          </a:prstGeom>
        </p:spPr>
        <p:txBody>
          <a:bodyPr spcFirstLastPara="1" vert="horz" wrap="square" lIns="0" tIns="20320" rIns="0" bIns="0" rtlCol="0" anchor="ctr" anchorCtr="0">
            <a:spAutoFit/>
          </a:bodyPr>
          <a:lstStyle/>
          <a:p>
            <a:pPr marL="20320">
              <a:lnSpc>
                <a:spcPct val="100000"/>
              </a:lnSpc>
              <a:spcBef>
                <a:spcPts val="160"/>
              </a:spcBef>
            </a:pPr>
            <a:r>
              <a:rPr sz="4800" spc="-8" dirty="0">
                <a:solidFill>
                  <a:srgbClr val="6EB7D6"/>
                </a:solidFill>
              </a:rPr>
              <a:t>Multi-Link</a:t>
            </a:r>
            <a:r>
              <a:rPr sz="4800" spc="-112" dirty="0">
                <a:solidFill>
                  <a:srgbClr val="6EB7D6"/>
                </a:solidFill>
              </a:rPr>
              <a:t> </a:t>
            </a:r>
            <a:r>
              <a:rPr sz="4800" spc="-8" dirty="0">
                <a:solidFill>
                  <a:srgbClr val="6EB7D6"/>
                </a:solidFill>
              </a:rPr>
              <a:t>X2</a:t>
            </a:r>
            <a:endParaRPr sz="4800"/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2422551" y="4576063"/>
            <a:ext cx="9362440" cy="2021066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364744" marR="837184" indent="-345440">
              <a:spcBef>
                <a:spcPts val="160"/>
              </a:spcBef>
              <a:buClr>
                <a:srgbClr val="71B0D3"/>
              </a:buClr>
              <a:buChar char="–"/>
              <a:tabLst>
                <a:tab pos="365760" algn="l"/>
              </a:tabLst>
            </a:pPr>
            <a:r>
              <a:rPr sz="2400" dirty="0">
                <a:solidFill>
                  <a:srgbClr val="517AC6"/>
                </a:solidFill>
              </a:rPr>
              <a:t>With </a:t>
            </a:r>
            <a:r>
              <a:rPr sz="2400" spc="-8" dirty="0">
                <a:solidFill>
                  <a:srgbClr val="517AC6"/>
                </a:solidFill>
              </a:rPr>
              <a:t>Multi-Link </a:t>
            </a:r>
            <a:r>
              <a:rPr sz="2400" dirty="0">
                <a:solidFill>
                  <a:srgbClr val="517AC6"/>
                </a:solidFill>
              </a:rPr>
              <a:t>X2, </a:t>
            </a:r>
            <a:r>
              <a:rPr sz="2400" spc="-8" dirty="0">
                <a:solidFill>
                  <a:srgbClr val="517AC6"/>
                </a:solidFill>
              </a:rPr>
              <a:t>you can </a:t>
            </a:r>
            <a:r>
              <a:rPr sz="2400" spc="-16" dirty="0">
                <a:solidFill>
                  <a:srgbClr val="517AC6"/>
                </a:solidFill>
              </a:rPr>
              <a:t>offer </a:t>
            </a:r>
            <a:r>
              <a:rPr sz="2400" spc="-8" dirty="0">
                <a:solidFill>
                  <a:srgbClr val="517AC6"/>
                </a:solidFill>
              </a:rPr>
              <a:t>a </a:t>
            </a:r>
            <a:r>
              <a:rPr sz="2400" spc="-8" dirty="0" err="1">
                <a:solidFill>
                  <a:srgbClr val="517AC6"/>
                </a:solidFill>
              </a:rPr>
              <a:t>standardi</a:t>
            </a:r>
            <a:r>
              <a:rPr lang="en-GB" sz="2400" spc="-8" dirty="0">
                <a:solidFill>
                  <a:srgbClr val="517AC6"/>
                </a:solidFill>
              </a:rPr>
              <a:t>s</a:t>
            </a:r>
            <a:r>
              <a:rPr sz="2400" spc="-8" dirty="0">
                <a:solidFill>
                  <a:srgbClr val="517AC6"/>
                </a:solidFill>
              </a:rPr>
              <a:t>ed connectivity  (leadwire) option </a:t>
            </a:r>
            <a:r>
              <a:rPr sz="2400" dirty="0">
                <a:solidFill>
                  <a:srgbClr val="517AC6"/>
                </a:solidFill>
              </a:rPr>
              <a:t>for </a:t>
            </a:r>
            <a:r>
              <a:rPr sz="2400" spc="-8" dirty="0">
                <a:solidFill>
                  <a:srgbClr val="517AC6"/>
                </a:solidFill>
              </a:rPr>
              <a:t>the main monitor</a:t>
            </a:r>
            <a:r>
              <a:rPr sz="2400" spc="80" dirty="0">
                <a:solidFill>
                  <a:srgbClr val="517AC6"/>
                </a:solidFill>
              </a:rPr>
              <a:t> </a:t>
            </a:r>
            <a:r>
              <a:rPr sz="2400" spc="-8" dirty="0">
                <a:solidFill>
                  <a:srgbClr val="517AC6"/>
                </a:solidFill>
              </a:rPr>
              <a:t>brands</a:t>
            </a:r>
            <a:endParaRPr sz="2400" dirty="0"/>
          </a:p>
          <a:p>
            <a:pPr marL="364744" marR="8128" indent="-345440">
              <a:spcBef>
                <a:spcPts val="576"/>
              </a:spcBef>
              <a:buClr>
                <a:srgbClr val="71B0D3"/>
              </a:buClr>
              <a:buChar char="–"/>
              <a:tabLst>
                <a:tab pos="365760" algn="l"/>
              </a:tabLst>
            </a:pPr>
            <a:r>
              <a:rPr sz="2400" dirty="0">
                <a:solidFill>
                  <a:srgbClr val="517AC6"/>
                </a:solidFill>
              </a:rPr>
              <a:t>Ability to </a:t>
            </a:r>
            <a:r>
              <a:rPr sz="2400" spc="-8" dirty="0">
                <a:solidFill>
                  <a:srgbClr val="517AC6"/>
                </a:solidFill>
              </a:rPr>
              <a:t>compete in multi-system </a:t>
            </a:r>
            <a:r>
              <a:rPr sz="2400" dirty="0">
                <a:solidFill>
                  <a:srgbClr val="517AC6"/>
                </a:solidFill>
              </a:rPr>
              <a:t>accessory </a:t>
            </a:r>
            <a:r>
              <a:rPr sz="2400" spc="-8" dirty="0">
                <a:solidFill>
                  <a:srgbClr val="517AC6"/>
                </a:solidFill>
              </a:rPr>
              <a:t>tenders and </a:t>
            </a:r>
            <a:r>
              <a:rPr sz="2400" spc="-16" dirty="0">
                <a:solidFill>
                  <a:srgbClr val="517AC6"/>
                </a:solidFill>
              </a:rPr>
              <a:t>offer </a:t>
            </a:r>
            <a:r>
              <a:rPr sz="2400" dirty="0">
                <a:solidFill>
                  <a:srgbClr val="517AC6"/>
                </a:solidFill>
              </a:rPr>
              <a:t>true  </a:t>
            </a:r>
            <a:r>
              <a:rPr sz="2400" spc="-8" dirty="0">
                <a:solidFill>
                  <a:srgbClr val="517AC6"/>
                </a:solidFill>
              </a:rPr>
              <a:t>disposable</a:t>
            </a:r>
            <a:r>
              <a:rPr sz="2400" spc="16" dirty="0">
                <a:solidFill>
                  <a:srgbClr val="517AC6"/>
                </a:solidFill>
              </a:rPr>
              <a:t> </a:t>
            </a:r>
            <a:r>
              <a:rPr sz="2400" spc="-8" dirty="0">
                <a:solidFill>
                  <a:srgbClr val="517AC6"/>
                </a:solidFill>
              </a:rPr>
              <a:t>solution</a:t>
            </a:r>
            <a:endParaRPr sz="2400" dirty="0"/>
          </a:p>
          <a:p>
            <a:pPr marL="364744" indent="-345440">
              <a:spcBef>
                <a:spcPts val="576"/>
              </a:spcBef>
              <a:buClr>
                <a:srgbClr val="71B0D3"/>
              </a:buClr>
              <a:buChar char="–"/>
              <a:tabLst>
                <a:tab pos="365760" algn="l"/>
              </a:tabLst>
            </a:pPr>
            <a:r>
              <a:rPr sz="2400" spc="-8" dirty="0">
                <a:solidFill>
                  <a:srgbClr val="517AC6"/>
                </a:solidFill>
              </a:rPr>
              <a:t>Potential </a:t>
            </a:r>
            <a:r>
              <a:rPr sz="2400" dirty="0">
                <a:solidFill>
                  <a:srgbClr val="517AC6"/>
                </a:solidFill>
              </a:rPr>
              <a:t>to </a:t>
            </a:r>
            <a:r>
              <a:rPr sz="2400" spc="-8" dirty="0">
                <a:solidFill>
                  <a:srgbClr val="517AC6"/>
                </a:solidFill>
              </a:rPr>
              <a:t>triple+ </a:t>
            </a:r>
            <a:r>
              <a:rPr sz="2400" dirty="0">
                <a:solidFill>
                  <a:srgbClr val="517AC6"/>
                </a:solidFill>
              </a:rPr>
              <a:t>ECG </a:t>
            </a:r>
            <a:r>
              <a:rPr sz="2400" spc="-8" dirty="0">
                <a:solidFill>
                  <a:srgbClr val="517AC6"/>
                </a:solidFill>
              </a:rPr>
              <a:t>cables and leadwire</a:t>
            </a:r>
            <a:r>
              <a:rPr sz="2400" spc="112" dirty="0">
                <a:solidFill>
                  <a:srgbClr val="517AC6"/>
                </a:solidFill>
              </a:rPr>
              <a:t> </a:t>
            </a:r>
            <a:r>
              <a:rPr sz="2400" spc="-8" dirty="0">
                <a:solidFill>
                  <a:srgbClr val="517AC6"/>
                </a:solidFill>
              </a:rPr>
              <a:t>sales</a:t>
            </a:r>
            <a:endParaRPr sz="2400" dirty="0"/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2503423" y="700170"/>
            <a:ext cx="3335528" cy="600164"/>
          </a:xfrm>
          <a:prstGeom prst="rect">
            <a:avLst/>
          </a:prstGeom>
        </p:spPr>
        <p:txBody>
          <a:bodyPr spcFirstLastPara="1" vert="horz" wrap="square" lIns="0" tIns="20320" rIns="0" bIns="0" rtlCol="0" anchor="ctr" anchorCtr="0">
            <a:spAutoFit/>
          </a:bodyPr>
          <a:lstStyle/>
          <a:p>
            <a:pPr marL="20320">
              <a:lnSpc>
                <a:spcPct val="100000"/>
              </a:lnSpc>
              <a:spcBef>
                <a:spcPts val="160"/>
              </a:spcBef>
            </a:pPr>
            <a:r>
              <a:rPr u="none" dirty="0"/>
              <a:t>Multi-Link</a:t>
            </a:r>
            <a:r>
              <a:rPr spc="-120" dirty="0"/>
              <a:t> </a:t>
            </a:r>
            <a:r>
              <a:rPr u="none" dirty="0"/>
              <a:t>X2</a:t>
            </a:r>
          </a:p>
        </p:txBody>
      </p:sp>
      <p:sp>
        <p:nvSpPr>
          <p:cNvPr id="4" name="object 4"/>
          <p:cNvSpPr/>
          <p:nvPr/>
        </p:nvSpPr>
        <p:spPr>
          <a:xfrm>
            <a:off x="2834640" y="2048372"/>
            <a:ext cx="1211632" cy="75944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5" name="object 5"/>
          <p:cNvSpPr/>
          <p:nvPr/>
        </p:nvSpPr>
        <p:spPr>
          <a:xfrm>
            <a:off x="3209019" y="2995672"/>
            <a:ext cx="614221" cy="53020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6" name="object 6"/>
          <p:cNvSpPr/>
          <p:nvPr/>
        </p:nvSpPr>
        <p:spPr>
          <a:xfrm>
            <a:off x="4992897" y="2115311"/>
            <a:ext cx="875962" cy="82052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7" name="object 7"/>
          <p:cNvSpPr/>
          <p:nvPr/>
        </p:nvSpPr>
        <p:spPr>
          <a:xfrm>
            <a:off x="4937761" y="3267456"/>
            <a:ext cx="1000962" cy="186538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8" name="object 8"/>
          <p:cNvSpPr/>
          <p:nvPr/>
        </p:nvSpPr>
        <p:spPr>
          <a:xfrm>
            <a:off x="6605761" y="2082475"/>
            <a:ext cx="964250" cy="908187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9" name="object 9"/>
          <p:cNvSpPr/>
          <p:nvPr/>
        </p:nvSpPr>
        <p:spPr>
          <a:xfrm>
            <a:off x="6588555" y="3197962"/>
            <a:ext cx="975360" cy="310896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0" name="object 10"/>
          <p:cNvSpPr/>
          <p:nvPr/>
        </p:nvSpPr>
        <p:spPr>
          <a:xfrm>
            <a:off x="8151571" y="2205533"/>
            <a:ext cx="733958" cy="591091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1" name="object 11"/>
          <p:cNvSpPr/>
          <p:nvPr/>
        </p:nvSpPr>
        <p:spPr>
          <a:xfrm>
            <a:off x="8046720" y="3240632"/>
            <a:ext cx="943661" cy="213360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2" name="object 12"/>
          <p:cNvSpPr/>
          <p:nvPr/>
        </p:nvSpPr>
        <p:spPr>
          <a:xfrm>
            <a:off x="9450018" y="2117854"/>
            <a:ext cx="875344" cy="660677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3" name="object 13"/>
          <p:cNvSpPr/>
          <p:nvPr/>
        </p:nvSpPr>
        <p:spPr>
          <a:xfrm>
            <a:off x="9326880" y="3179672"/>
            <a:ext cx="1005840" cy="16825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4" name="object 14"/>
          <p:cNvSpPr/>
          <p:nvPr/>
        </p:nvSpPr>
        <p:spPr>
          <a:xfrm>
            <a:off x="10946181" y="3164766"/>
            <a:ext cx="566442" cy="220698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5" name="object 15"/>
          <p:cNvSpPr/>
          <p:nvPr/>
        </p:nvSpPr>
        <p:spPr>
          <a:xfrm>
            <a:off x="10666781" y="2037283"/>
            <a:ext cx="1107034" cy="855814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6" name="object 16"/>
          <p:cNvSpPr txBox="1"/>
          <p:nvPr/>
        </p:nvSpPr>
        <p:spPr>
          <a:xfrm>
            <a:off x="8484818" y="7637661"/>
            <a:ext cx="3445256" cy="247247"/>
          </a:xfrm>
          <a:prstGeom prst="rect">
            <a:avLst/>
          </a:prstGeom>
        </p:spPr>
        <p:txBody>
          <a:bodyPr vert="horz" wrap="square" lIns="0" tIns="1016" rIns="0" bIns="0" rtlCol="0">
            <a:spAutoFit/>
          </a:bodyPr>
          <a:lstStyle/>
          <a:p>
            <a:pPr marL="20320">
              <a:spcBef>
                <a:spcPts val="8"/>
              </a:spcBef>
            </a:pPr>
            <a:r>
              <a:rPr sz="1600" b="1" dirty="0">
                <a:solidFill>
                  <a:srgbClr val="F1F1F1"/>
                </a:solidFill>
              </a:rPr>
              <a:t>CONFIDENTIAL – Internal Use</a:t>
            </a:r>
            <a:r>
              <a:rPr sz="1600" b="1" spc="-216" dirty="0">
                <a:solidFill>
                  <a:srgbClr val="F1F1F1"/>
                </a:solidFill>
              </a:rPr>
              <a:t> </a:t>
            </a:r>
            <a:r>
              <a:rPr sz="1600" b="1" dirty="0">
                <a:solidFill>
                  <a:srgbClr val="F1F1F1"/>
                </a:solidFill>
              </a:rPr>
              <a:t>Only</a:t>
            </a:r>
            <a:endParaRPr sz="1600"/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57505" y="700170"/>
            <a:ext cx="1781048" cy="600164"/>
          </a:xfrm>
          <a:prstGeom prst="rect">
            <a:avLst/>
          </a:prstGeom>
        </p:spPr>
        <p:txBody>
          <a:bodyPr spcFirstLastPara="1" vert="horz" wrap="square" lIns="0" tIns="20320" rIns="0" bIns="0" rtlCol="0" anchor="ctr" anchorCtr="0">
            <a:spAutoFit/>
          </a:bodyPr>
          <a:lstStyle/>
          <a:p>
            <a:pPr marL="20320">
              <a:lnSpc>
                <a:spcPct val="100000"/>
              </a:lnSpc>
              <a:spcBef>
                <a:spcPts val="160"/>
              </a:spcBef>
            </a:pPr>
            <a:r>
              <a:rPr u="none" dirty="0"/>
              <a:t>Simple</a:t>
            </a:r>
          </a:p>
        </p:txBody>
      </p:sp>
      <p:sp>
        <p:nvSpPr>
          <p:cNvPr id="3" name="object 3"/>
          <p:cNvSpPr/>
          <p:nvPr/>
        </p:nvSpPr>
        <p:spPr>
          <a:xfrm>
            <a:off x="2377440" y="1737360"/>
            <a:ext cx="9001354" cy="265176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4" name="object 4"/>
          <p:cNvSpPr/>
          <p:nvPr/>
        </p:nvSpPr>
        <p:spPr>
          <a:xfrm>
            <a:off x="2409138" y="4491531"/>
            <a:ext cx="9167165" cy="265176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5" name="object 5"/>
          <p:cNvSpPr txBox="1"/>
          <p:nvPr/>
        </p:nvSpPr>
        <p:spPr>
          <a:xfrm>
            <a:off x="8484818" y="7637661"/>
            <a:ext cx="3445256" cy="247247"/>
          </a:xfrm>
          <a:prstGeom prst="rect">
            <a:avLst/>
          </a:prstGeom>
        </p:spPr>
        <p:txBody>
          <a:bodyPr vert="horz" wrap="square" lIns="0" tIns="1016" rIns="0" bIns="0" rtlCol="0">
            <a:spAutoFit/>
          </a:bodyPr>
          <a:lstStyle/>
          <a:p>
            <a:pPr marL="20320">
              <a:spcBef>
                <a:spcPts val="8"/>
              </a:spcBef>
            </a:pPr>
            <a:r>
              <a:rPr sz="1600" b="1" dirty="0">
                <a:solidFill>
                  <a:srgbClr val="F1F1F1"/>
                </a:solidFill>
              </a:rPr>
              <a:t>CONFIDENTIAL – Internal Use</a:t>
            </a:r>
            <a:r>
              <a:rPr sz="1600" b="1" spc="-216" dirty="0">
                <a:solidFill>
                  <a:srgbClr val="F1F1F1"/>
                </a:solidFill>
              </a:rPr>
              <a:t> </a:t>
            </a:r>
            <a:r>
              <a:rPr sz="1600" b="1" dirty="0">
                <a:solidFill>
                  <a:srgbClr val="F1F1F1"/>
                </a:solidFill>
              </a:rPr>
              <a:t>Only</a:t>
            </a:r>
            <a:endParaRPr sz="1600"/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57504" y="700170"/>
            <a:ext cx="2225040" cy="600164"/>
          </a:xfrm>
          <a:prstGeom prst="rect">
            <a:avLst/>
          </a:prstGeom>
        </p:spPr>
        <p:txBody>
          <a:bodyPr spcFirstLastPara="1" vert="horz" wrap="square" lIns="0" tIns="20320" rIns="0" bIns="0" rtlCol="0" anchor="ctr" anchorCtr="0">
            <a:spAutoFit/>
          </a:bodyPr>
          <a:lstStyle/>
          <a:p>
            <a:pPr marL="20320">
              <a:lnSpc>
                <a:spcPct val="100000"/>
              </a:lnSpc>
              <a:spcBef>
                <a:spcPts val="160"/>
              </a:spcBef>
            </a:pPr>
            <a:r>
              <a:rPr spc="-32" dirty="0"/>
              <a:t>Versatile</a:t>
            </a:r>
          </a:p>
        </p:txBody>
      </p:sp>
      <p:sp>
        <p:nvSpPr>
          <p:cNvPr id="3" name="object 3"/>
          <p:cNvSpPr/>
          <p:nvPr/>
        </p:nvSpPr>
        <p:spPr>
          <a:xfrm>
            <a:off x="2347147" y="1813850"/>
            <a:ext cx="9814371" cy="500246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4" name="object 4"/>
          <p:cNvSpPr txBox="1"/>
          <p:nvPr/>
        </p:nvSpPr>
        <p:spPr>
          <a:xfrm>
            <a:off x="8484818" y="7637661"/>
            <a:ext cx="3445256" cy="247247"/>
          </a:xfrm>
          <a:prstGeom prst="rect">
            <a:avLst/>
          </a:prstGeom>
        </p:spPr>
        <p:txBody>
          <a:bodyPr vert="horz" wrap="square" lIns="0" tIns="1016" rIns="0" bIns="0" rtlCol="0">
            <a:spAutoFit/>
          </a:bodyPr>
          <a:lstStyle/>
          <a:p>
            <a:pPr marL="20320">
              <a:spcBef>
                <a:spcPts val="8"/>
              </a:spcBef>
            </a:pPr>
            <a:r>
              <a:rPr sz="1600" b="1" dirty="0">
                <a:solidFill>
                  <a:srgbClr val="F1F1F1"/>
                </a:solidFill>
              </a:rPr>
              <a:t>CONFIDENTIAL – Internal Use</a:t>
            </a:r>
            <a:r>
              <a:rPr sz="1600" b="1" spc="-216" dirty="0">
                <a:solidFill>
                  <a:srgbClr val="F1F1F1"/>
                </a:solidFill>
              </a:rPr>
              <a:t> </a:t>
            </a:r>
            <a:r>
              <a:rPr sz="1600" b="1" dirty="0">
                <a:solidFill>
                  <a:srgbClr val="F1F1F1"/>
                </a:solidFill>
              </a:rPr>
              <a:t>Only</a:t>
            </a:r>
            <a:endParaRPr sz="1600"/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8A93FF1-0DA1-4F70-A41A-729DA7559E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BDE47-A11E-FE42-85BD-DB007C88386C}" type="slidenum">
              <a:rPr lang="en-US" smtClean="0"/>
              <a:pPr/>
              <a:t>35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9BD5D05-91A7-402E-878D-22EBC307DC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6173" y="650351"/>
            <a:ext cx="9762764" cy="6912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111918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57504" y="700170"/>
            <a:ext cx="4185920" cy="600164"/>
          </a:xfrm>
          <a:prstGeom prst="rect">
            <a:avLst/>
          </a:prstGeom>
        </p:spPr>
        <p:txBody>
          <a:bodyPr spcFirstLastPara="1" vert="horz" wrap="square" lIns="0" tIns="20320" rIns="0" bIns="0" rtlCol="0" anchor="ctr" anchorCtr="0">
            <a:spAutoFit/>
          </a:bodyPr>
          <a:lstStyle/>
          <a:p>
            <a:pPr marL="20320">
              <a:lnSpc>
                <a:spcPct val="100000"/>
              </a:lnSpc>
              <a:spcBef>
                <a:spcPts val="160"/>
              </a:spcBef>
            </a:pPr>
            <a:r>
              <a:rPr u="none" dirty="0"/>
              <a:t>And</a:t>
            </a:r>
            <a:r>
              <a:rPr spc="-128" dirty="0"/>
              <a:t> </a:t>
            </a:r>
            <a:r>
              <a:rPr u="none" dirty="0"/>
              <a:t>Remember!</a:t>
            </a:r>
          </a:p>
        </p:txBody>
      </p:sp>
      <p:sp>
        <p:nvSpPr>
          <p:cNvPr id="3" name="object 3"/>
          <p:cNvSpPr/>
          <p:nvPr/>
        </p:nvSpPr>
        <p:spPr>
          <a:xfrm>
            <a:off x="5974080" y="0"/>
            <a:ext cx="8656320" cy="8229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4" name="object 4"/>
          <p:cNvSpPr txBox="1"/>
          <p:nvPr/>
        </p:nvSpPr>
        <p:spPr>
          <a:xfrm>
            <a:off x="8484818" y="7637661"/>
            <a:ext cx="3445256" cy="247247"/>
          </a:xfrm>
          <a:prstGeom prst="rect">
            <a:avLst/>
          </a:prstGeom>
        </p:spPr>
        <p:txBody>
          <a:bodyPr vert="horz" wrap="square" lIns="0" tIns="1016" rIns="0" bIns="0" rtlCol="0">
            <a:spAutoFit/>
          </a:bodyPr>
          <a:lstStyle/>
          <a:p>
            <a:pPr marL="20320">
              <a:spcBef>
                <a:spcPts val="8"/>
              </a:spcBef>
            </a:pPr>
            <a:r>
              <a:rPr sz="1600" b="1" dirty="0">
                <a:solidFill>
                  <a:srgbClr val="F1F1F1"/>
                </a:solidFill>
              </a:rPr>
              <a:t>CONFIDENTIAL – Internal Use</a:t>
            </a:r>
            <a:r>
              <a:rPr sz="1600" b="1" spc="-216" dirty="0">
                <a:solidFill>
                  <a:srgbClr val="F1F1F1"/>
                </a:solidFill>
              </a:rPr>
              <a:t> </a:t>
            </a:r>
            <a:r>
              <a:rPr sz="1600" b="1" dirty="0">
                <a:solidFill>
                  <a:srgbClr val="F1F1F1"/>
                </a:solidFill>
              </a:rPr>
              <a:t>Only</a:t>
            </a:r>
            <a:endParaRPr sz="1600"/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13062"/>
            <a:ext cx="14630400" cy="8229600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8778242" y="2164080"/>
            <a:ext cx="5608320" cy="1378838"/>
          </a:xfrm>
        </p:spPr>
        <p:txBody>
          <a:bodyPr/>
          <a:lstStyle/>
          <a:p>
            <a:r>
              <a:rPr lang="en-GB" dirty="0"/>
              <a:t>Diagnostic Cardiology </a:t>
            </a:r>
            <a:br>
              <a:rPr lang="en-GB" dirty="0"/>
            </a:br>
            <a:r>
              <a:rPr lang="en-GB" dirty="0"/>
              <a:t>(DCAR) ECG</a:t>
            </a:r>
          </a:p>
        </p:txBody>
      </p:sp>
      <p:sp>
        <p:nvSpPr>
          <p:cNvPr id="9" name="Rectangle 8"/>
          <p:cNvSpPr/>
          <p:nvPr/>
        </p:nvSpPr>
        <p:spPr>
          <a:xfrm>
            <a:off x="7338423" y="4724401"/>
            <a:ext cx="5376793" cy="4370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240" dirty="0">
                <a:solidFill>
                  <a:schemeClr val="bg1"/>
                </a:solidFill>
              </a:rPr>
              <a:t>Diagnose or evaluate cardiac conditions </a:t>
            </a:r>
          </a:p>
        </p:txBody>
      </p:sp>
    </p:spTree>
    <p:extLst>
      <p:ext uri="{BB962C8B-B14F-4D97-AF65-F5344CB8AC3E}">
        <p14:creationId xmlns:p14="http://schemas.microsoft.com/office/powerpoint/2010/main" val="40177752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9154" name="Rectangle 1026"/>
          <p:cNvSpPr>
            <a:spLocks noGrp="1" noChangeArrowheads="1"/>
          </p:cNvSpPr>
          <p:nvPr>
            <p:ph type="title"/>
          </p:nvPr>
        </p:nvSpPr>
        <p:spPr>
          <a:xfrm>
            <a:off x="2240281" y="252890"/>
            <a:ext cx="10151746" cy="590931"/>
          </a:xfrm>
        </p:spPr>
        <p:txBody>
          <a:bodyPr/>
          <a:lstStyle/>
          <a:p>
            <a:r>
              <a:rPr lang="en-US" altLang="en-US" sz="3840"/>
              <a:t>Cardiology</a:t>
            </a:r>
          </a:p>
        </p:txBody>
      </p:sp>
      <p:sp>
        <p:nvSpPr>
          <p:cNvPr id="689155" name="Rectangle 1027"/>
          <p:cNvSpPr>
            <a:spLocks noGrp="1" noChangeArrowheads="1"/>
          </p:cNvSpPr>
          <p:nvPr>
            <p:ph type="body" sz="half" idx="1"/>
          </p:nvPr>
        </p:nvSpPr>
        <p:spPr>
          <a:xfrm>
            <a:off x="2255521" y="1653540"/>
            <a:ext cx="4983480" cy="5084446"/>
          </a:xfrm>
        </p:spPr>
        <p:txBody>
          <a:bodyPr>
            <a:normAutofit/>
          </a:bodyPr>
          <a:lstStyle/>
          <a:p>
            <a:pPr marL="114300" indent="0">
              <a:buNone/>
            </a:pPr>
            <a:r>
              <a:rPr lang="en-US" altLang="en-US" sz="3360" b="1" dirty="0">
                <a:solidFill>
                  <a:schemeClr val="tx1"/>
                </a:solidFill>
              </a:rPr>
              <a:t>Patient Care Areas</a:t>
            </a:r>
          </a:p>
          <a:p>
            <a:endParaRPr lang="en-GB" dirty="0"/>
          </a:p>
          <a:p>
            <a:r>
              <a:rPr lang="en-GB" dirty="0"/>
              <a:t>Pre-op testing </a:t>
            </a:r>
          </a:p>
          <a:p>
            <a:endParaRPr lang="en-GB" dirty="0"/>
          </a:p>
          <a:p>
            <a:r>
              <a:rPr lang="en-GB" dirty="0"/>
              <a:t>Hospital-inpatient rooms </a:t>
            </a:r>
          </a:p>
          <a:p>
            <a:endParaRPr lang="en-GB" dirty="0"/>
          </a:p>
          <a:p>
            <a:r>
              <a:rPr lang="en-GB" dirty="0"/>
              <a:t>ICU</a:t>
            </a:r>
          </a:p>
          <a:p>
            <a:endParaRPr lang="en-GB" dirty="0"/>
          </a:p>
          <a:p>
            <a:r>
              <a:rPr lang="en-GB" dirty="0"/>
              <a:t>Cardiology </a:t>
            </a:r>
            <a:r>
              <a:rPr lang="en-GB" dirty="0" err="1"/>
              <a:t>Depts</a:t>
            </a:r>
            <a:endParaRPr lang="en-GB" dirty="0"/>
          </a:p>
          <a:p>
            <a:endParaRPr lang="en-GB" dirty="0"/>
          </a:p>
        </p:txBody>
      </p:sp>
      <p:pic>
        <p:nvPicPr>
          <p:cNvPr id="689156" name="Picture 1028" descr="D:\docs\My Pictures\stress lab.jpg"/>
          <p:cNvPicPr>
            <a:picLocks noGrp="1" noChangeAspect="1" noChangeArrowheads="1"/>
          </p:cNvPicPr>
          <p:nvPr>
            <p:ph type="clipArt"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498082" y="2293621"/>
            <a:ext cx="4301490" cy="3107056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3981761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5031" y="733959"/>
            <a:ext cx="10740338" cy="689419"/>
          </a:xfrm>
        </p:spPr>
        <p:txBody>
          <a:bodyPr/>
          <a:lstStyle/>
          <a:p>
            <a:r>
              <a:rPr lang="en-GB" dirty="0"/>
              <a:t>How is it done? </a:t>
            </a:r>
          </a:p>
        </p:txBody>
      </p:sp>
      <p:sp>
        <p:nvSpPr>
          <p:cNvPr id="4" name="Rectangle 3"/>
          <p:cNvSpPr/>
          <p:nvPr/>
        </p:nvSpPr>
        <p:spPr>
          <a:xfrm>
            <a:off x="2628900" y="1398485"/>
            <a:ext cx="8938261" cy="16858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1" indent="-34290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400" dirty="0"/>
              <a:t>Electrodes are attached to the arms, legs, and chest</a:t>
            </a:r>
          </a:p>
          <a:p>
            <a:pPr marL="342901" indent="-34290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400" dirty="0"/>
              <a:t>Lead wires are then attached to the electrodes</a:t>
            </a:r>
          </a:p>
          <a:p>
            <a:pPr marL="342901" indent="-34290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400" dirty="0"/>
              <a:t>Recording is printed out, saved or sent</a:t>
            </a:r>
          </a:p>
        </p:txBody>
      </p:sp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4905" y="4778565"/>
            <a:ext cx="4286250" cy="22737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028" descr="D:\docs\My Pictures\Electrodes\Silmac Plus single 2.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628900" y="4085768"/>
            <a:ext cx="2237182" cy="290703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9" name="Picture 6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7983" t="69902" r="24374" b="5976"/>
          <a:stretch/>
        </p:blipFill>
        <p:spPr bwMode="auto">
          <a:xfrm>
            <a:off x="9241155" y="4619020"/>
            <a:ext cx="3148203" cy="2433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856121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8131" name="Rectangle 1027"/>
          <p:cNvSpPr>
            <a:spLocks noGrp="1" noChangeArrowheads="1"/>
          </p:cNvSpPr>
          <p:nvPr>
            <p:ph type="body" sz="half" idx="2"/>
          </p:nvPr>
        </p:nvSpPr>
        <p:spPr>
          <a:xfrm>
            <a:off x="365760" y="1554480"/>
            <a:ext cx="13718541" cy="5776307"/>
          </a:xfrm>
        </p:spPr>
        <p:txBody>
          <a:bodyPr>
            <a:normAutofit/>
          </a:bodyPr>
          <a:lstStyle/>
          <a:p>
            <a:pPr marL="114300" indent="0">
              <a:buNone/>
            </a:pPr>
            <a:r>
              <a:rPr lang="en-GB" sz="2560" b="1" dirty="0"/>
              <a:t>Patient Monitoring ECG vs. Diagnostic Cardiology (</a:t>
            </a:r>
            <a:r>
              <a:rPr lang="en-GB" sz="2560" b="1" i="1" dirty="0"/>
              <a:t>DCAR</a:t>
            </a:r>
            <a:r>
              <a:rPr lang="en-GB" sz="2560" b="1" dirty="0"/>
              <a:t>) ECG </a:t>
            </a:r>
          </a:p>
          <a:p>
            <a:endParaRPr lang="en-GB" sz="2560" b="1" dirty="0"/>
          </a:p>
          <a:p>
            <a:endParaRPr lang="en-GB" sz="1760" dirty="0"/>
          </a:p>
          <a:p>
            <a:r>
              <a:rPr lang="en-GB" sz="2240" b="1" dirty="0">
                <a:solidFill>
                  <a:schemeClr val="tx2"/>
                </a:solidFill>
              </a:rPr>
              <a:t>Patient monitoring ECG </a:t>
            </a:r>
            <a:endParaRPr lang="en-GB" sz="2240" dirty="0">
              <a:solidFill>
                <a:schemeClr val="tx2"/>
              </a:solidFill>
            </a:endParaRPr>
          </a:p>
          <a:p>
            <a:pPr marL="114300" indent="0">
              <a:buNone/>
            </a:pPr>
            <a:r>
              <a:rPr lang="en-GB" sz="2240" dirty="0"/>
              <a:t>Performed throughout the hospital or surgical centres to </a:t>
            </a:r>
            <a:r>
              <a:rPr lang="en-GB" sz="2240" b="1" dirty="0"/>
              <a:t>monitor a patient’s ECG rhythm and rate</a:t>
            </a:r>
          </a:p>
          <a:p>
            <a:endParaRPr lang="en-GB" sz="2240" dirty="0"/>
          </a:p>
          <a:p>
            <a:endParaRPr lang="en-GB" sz="1760" dirty="0"/>
          </a:p>
          <a:p>
            <a:r>
              <a:rPr lang="en-GB" sz="2240" b="1" dirty="0">
                <a:solidFill>
                  <a:schemeClr val="tx2"/>
                </a:solidFill>
              </a:rPr>
              <a:t>Diagnostic cardiology (</a:t>
            </a:r>
            <a:r>
              <a:rPr lang="en-GB" sz="2240" b="1" i="1" dirty="0">
                <a:solidFill>
                  <a:schemeClr val="tx2"/>
                </a:solidFill>
              </a:rPr>
              <a:t>DCAR</a:t>
            </a:r>
            <a:r>
              <a:rPr lang="en-GB" sz="2240" b="1" dirty="0">
                <a:solidFill>
                  <a:schemeClr val="tx2"/>
                </a:solidFill>
              </a:rPr>
              <a:t>) ECG </a:t>
            </a:r>
            <a:endParaRPr lang="en-GB" sz="2240" dirty="0">
              <a:solidFill>
                <a:schemeClr val="tx2"/>
              </a:solidFill>
            </a:endParaRPr>
          </a:p>
          <a:p>
            <a:pPr marL="114300" indent="0">
              <a:buNone/>
            </a:pPr>
            <a:r>
              <a:rPr lang="en-GB" sz="2240" dirty="0"/>
              <a:t>Testing performed by medical professionals in hospital, clinic, or physician office setting</a:t>
            </a:r>
            <a:r>
              <a:rPr lang="en-GB" sz="2240" b="1" dirty="0"/>
              <a:t> to diagnose or evaluate cardiac condition</a:t>
            </a:r>
          </a:p>
          <a:p>
            <a:endParaRPr lang="en-US" altLang="en-US" sz="2520" b="1" dirty="0">
              <a:solidFill>
                <a:schemeClr val="tx1"/>
              </a:solidFill>
            </a:endParaRPr>
          </a:p>
          <a:p>
            <a:pPr lvl="1">
              <a:buFont typeface="GE Inspira" pitchFamily="34" charset="0"/>
              <a:buNone/>
            </a:pPr>
            <a:endParaRPr lang="en-US" altLang="en-US" sz="2040" dirty="0">
              <a:solidFill>
                <a:schemeClr val="tx1"/>
              </a:solidFill>
            </a:endParaRPr>
          </a:p>
        </p:txBody>
      </p:sp>
      <p:pic>
        <p:nvPicPr>
          <p:cNvPr id="688135" name="Picture 1031" descr="C:\Documents and Settings\Owner\My Documents\My Pictures\heart.tif"/>
          <p:cNvPicPr>
            <a:picLocks noGrp="1" noChangeAspect="1" noChangeArrowheads="1"/>
          </p:cNvPicPr>
          <p:nvPr>
            <p:ph type="clipArt"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0325101" y="681896"/>
            <a:ext cx="3562350" cy="266319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ardiology divided into 2 areas:</a:t>
            </a:r>
          </a:p>
        </p:txBody>
      </p:sp>
    </p:spTree>
    <p:extLst>
      <p:ext uri="{BB962C8B-B14F-4D97-AF65-F5344CB8AC3E}">
        <p14:creationId xmlns:p14="http://schemas.microsoft.com/office/powerpoint/2010/main" val="50651356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5031" y="733959"/>
            <a:ext cx="10740338" cy="689419"/>
          </a:xfrm>
        </p:spPr>
        <p:txBody>
          <a:bodyPr/>
          <a:lstStyle/>
          <a:p>
            <a:r>
              <a:rPr lang="en-GB" dirty="0"/>
              <a:t>DCAR System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4294967295"/>
          </p:nvPr>
        </p:nvSpPr>
        <p:spPr>
          <a:xfrm>
            <a:off x="3108960" y="4783455"/>
            <a:ext cx="2926080" cy="2571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6960" y="4276664"/>
            <a:ext cx="1918397" cy="19183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1800" y="4322383"/>
            <a:ext cx="1964118" cy="19641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6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07401" y="1304219"/>
            <a:ext cx="2057898" cy="2057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8" name="Picture 6" descr="mac800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6961" y="1351111"/>
            <a:ext cx="1964117" cy="19641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9" name="Picture 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9841" y="1377470"/>
            <a:ext cx="1964117" cy="19641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20" name="Picture 8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96" t="8889" r="10696" b="11111"/>
          <a:stretch/>
        </p:blipFill>
        <p:spPr bwMode="auto">
          <a:xfrm>
            <a:off x="9398227" y="4603243"/>
            <a:ext cx="2267072" cy="1591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2510443" y="3391466"/>
            <a:ext cx="2328035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920" dirty="0"/>
              <a:t>MAC 2000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025807" y="3391466"/>
            <a:ext cx="2328035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920" dirty="0"/>
              <a:t>MAC 800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9398227" y="3391466"/>
            <a:ext cx="2328035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920" dirty="0"/>
              <a:t>MAC 1200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607883" y="6390283"/>
            <a:ext cx="2328035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920" dirty="0"/>
              <a:t>MAC 1600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896957" y="6390283"/>
            <a:ext cx="2328035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920" dirty="0"/>
              <a:t>MAC 5500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9337267" y="6390283"/>
            <a:ext cx="2328035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920" dirty="0"/>
              <a:t>MAC 500 *</a:t>
            </a:r>
            <a:r>
              <a:rPr lang="en-GB" sz="1920" dirty="0" err="1"/>
              <a:t>EoL</a:t>
            </a:r>
            <a:endParaRPr lang="en-GB" sz="1920" dirty="0"/>
          </a:p>
        </p:txBody>
      </p:sp>
    </p:spTree>
    <p:extLst>
      <p:ext uri="{BB962C8B-B14F-4D97-AF65-F5344CB8AC3E}">
        <p14:creationId xmlns:p14="http://schemas.microsoft.com/office/powerpoint/2010/main" val="160247879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8867" name="Rectangle 3"/>
          <p:cNvSpPr>
            <a:spLocks noGrp="1" noChangeArrowheads="1"/>
          </p:cNvSpPr>
          <p:nvPr>
            <p:ph type="body" sz="half" idx="2"/>
          </p:nvPr>
        </p:nvSpPr>
        <p:spPr>
          <a:xfrm>
            <a:off x="1394461" y="3256483"/>
            <a:ext cx="9966960" cy="689419"/>
          </a:xfrm>
        </p:spPr>
        <p:txBody>
          <a:bodyPr/>
          <a:lstStyle/>
          <a:p>
            <a:r>
              <a:rPr lang="en-US" altLang="en-US" sz="4480" dirty="0"/>
              <a:t>Continued…</a:t>
            </a:r>
            <a:endParaRPr lang="en-US" altLang="en-US" sz="5760" dirty="0"/>
          </a:p>
        </p:txBody>
      </p:sp>
      <p:sp>
        <p:nvSpPr>
          <p:cNvPr id="548871" name="Rectangle 7"/>
          <p:cNvSpPr>
            <a:spLocks noChangeArrowheads="1"/>
          </p:cNvSpPr>
          <p:nvPr/>
        </p:nvSpPr>
        <p:spPr bwMode="auto">
          <a:xfrm>
            <a:off x="8231506" y="3581401"/>
            <a:ext cx="1630680" cy="3238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1" hangingPunct="1"/>
            <a:r>
              <a:rPr lang="en-US" altLang="en-US" sz="1680">
                <a:latin typeface="Times New Roman" charset="0"/>
                <a:cs typeface="Times New Roman" charset="0"/>
              </a:rPr>
              <a:t>CardioSoft</a:t>
            </a:r>
            <a:endParaRPr lang="en-US" altLang="en-US" sz="2240">
              <a:latin typeface="Times New Roman" charset="0"/>
              <a:cs typeface="Times New Roman" charset="0"/>
            </a:endParaRPr>
          </a:p>
        </p:txBody>
      </p:sp>
      <p:sp>
        <p:nvSpPr>
          <p:cNvPr id="548872" name="Rectangle 8"/>
          <p:cNvSpPr>
            <a:spLocks noChangeArrowheads="1"/>
          </p:cNvSpPr>
          <p:nvPr/>
        </p:nvSpPr>
        <p:spPr bwMode="auto">
          <a:xfrm>
            <a:off x="5492115" y="6711318"/>
            <a:ext cx="1463040" cy="32194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1" hangingPunct="1"/>
            <a:r>
              <a:rPr lang="en-US" altLang="en-US" sz="1680">
                <a:latin typeface="Times New Roman" charset="0"/>
                <a:cs typeface="Times New Roman" charset="0"/>
              </a:rPr>
              <a:t>CASE</a:t>
            </a:r>
            <a:endParaRPr lang="en-US" altLang="en-US" sz="2240">
              <a:latin typeface="Times New Roman" charset="0"/>
              <a:cs typeface="Times New Roman" charset="0"/>
            </a:endParaRPr>
          </a:p>
        </p:txBody>
      </p:sp>
      <p:sp>
        <p:nvSpPr>
          <p:cNvPr id="548873" name="Rectangle 9"/>
          <p:cNvSpPr>
            <a:spLocks noChangeArrowheads="1"/>
          </p:cNvSpPr>
          <p:nvPr/>
        </p:nvSpPr>
        <p:spPr bwMode="auto">
          <a:xfrm>
            <a:off x="10669906" y="3617598"/>
            <a:ext cx="1463040" cy="26098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1" hangingPunct="1"/>
            <a:r>
              <a:rPr lang="en-US" altLang="en-US" sz="1680">
                <a:latin typeface="Times New Roman" charset="0"/>
                <a:cs typeface="Times New Roman" charset="0"/>
              </a:rPr>
              <a:t>KISS</a:t>
            </a:r>
            <a:endParaRPr lang="en-US" altLang="en-US" sz="2240">
              <a:latin typeface="Times New Roman" charset="0"/>
              <a:cs typeface="Times New Roman" charset="0"/>
            </a:endParaRPr>
          </a:p>
        </p:txBody>
      </p:sp>
      <p:sp>
        <p:nvSpPr>
          <p:cNvPr id="548874" name="Rectangle 10"/>
          <p:cNvSpPr>
            <a:spLocks noChangeArrowheads="1"/>
          </p:cNvSpPr>
          <p:nvPr/>
        </p:nvSpPr>
        <p:spPr bwMode="auto">
          <a:xfrm>
            <a:off x="8311515" y="6435090"/>
            <a:ext cx="1371600" cy="36576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1" hangingPunct="1"/>
            <a:r>
              <a:rPr lang="en-US" altLang="en-US" sz="1680">
                <a:latin typeface="Times New Roman" charset="0"/>
                <a:cs typeface="Times New Roman" charset="0"/>
              </a:rPr>
              <a:t> SEER MC</a:t>
            </a:r>
            <a:endParaRPr lang="en-US" altLang="en-US" sz="2240">
              <a:latin typeface="Times New Roman" charset="0"/>
              <a:cs typeface="Times New Roman" charset="0"/>
            </a:endParaRPr>
          </a:p>
        </p:txBody>
      </p:sp>
      <p:pic>
        <p:nvPicPr>
          <p:cNvPr id="548878" name="Picture 14" descr="C:\WINNT\Profiles\fortisf.000\Desktop\CardioSoft.jpg">
            <a:hlinkClick r:id="rId3" action="ppaction://hlinksldjump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4797" y="1962151"/>
            <a:ext cx="1701165" cy="14992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8880" name="Picture 16" descr="C:\WINNT\Profiles\fortisf.000\Desktop\SEER_MC.jpg">
            <a:hlinkClick r:id="rId5" action="ppaction://hlinksldjump"/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170548" y="4730117"/>
            <a:ext cx="2028824" cy="12839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8881" name="Picture 17" descr="C:\WINNT\Profiles\fortisf.000\Desktop\KISS.jpg">
            <a:hlinkClick r:id="rId7" action="ppaction://hlinksldjump"/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17506" y="1790701"/>
            <a:ext cx="1792605" cy="1312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8884" name="Rectangle 20"/>
          <p:cNvSpPr>
            <a:spLocks noChangeArrowheads="1"/>
          </p:cNvSpPr>
          <p:nvPr/>
        </p:nvSpPr>
        <p:spPr bwMode="auto">
          <a:xfrm>
            <a:off x="10629901" y="6566536"/>
            <a:ext cx="1463040" cy="34861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1" hangingPunct="1"/>
            <a:r>
              <a:rPr lang="de-DE" altLang="en-US" sz="1680">
                <a:effectLst>
                  <a:outerShdw blurRad="38100" dist="38100" dir="2700000" algn="tl">
                    <a:srgbClr val="C0C0C0"/>
                  </a:outerShdw>
                </a:effectLst>
                <a:cs typeface="Times New Roman" charset="0"/>
              </a:rPr>
              <a:t>SEER Light</a:t>
            </a:r>
            <a:endParaRPr lang="en-US" altLang="en-US" sz="1680">
              <a:effectLst>
                <a:outerShdw blurRad="38100" dist="38100" dir="2700000" algn="tl">
                  <a:srgbClr val="C0C0C0"/>
                </a:outerShdw>
              </a:effectLst>
              <a:cs typeface="Times New Roman" charset="0"/>
            </a:endParaRPr>
          </a:p>
        </p:txBody>
      </p:sp>
      <p:pic>
        <p:nvPicPr>
          <p:cNvPr id="548888" name="Picture 24" descr="D:\fortisf\Supplies Pictures\CASE_Treadmill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2581" y="4419601"/>
            <a:ext cx="1541146" cy="1922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8893" name="Picture 29" descr="D:\docs\My Pictures\SEERLight2.jp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21339" y="4608195"/>
            <a:ext cx="1516381" cy="1516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9677767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9938" name="Text Box 2"/>
          <p:cNvSpPr txBox="1">
            <a:spLocks noChangeArrowheads="1"/>
          </p:cNvSpPr>
          <p:nvPr/>
        </p:nvSpPr>
        <p:spPr bwMode="auto">
          <a:xfrm>
            <a:off x="2651762" y="1428750"/>
            <a:ext cx="1441420" cy="387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US" altLang="en-US" sz="1920" b="1" i="1"/>
              <a:t>Electrodes</a:t>
            </a:r>
          </a:p>
        </p:txBody>
      </p:sp>
      <p:sp>
        <p:nvSpPr>
          <p:cNvPr id="679939" name="Text Box 3"/>
          <p:cNvSpPr txBox="1">
            <a:spLocks noChangeArrowheads="1"/>
          </p:cNvSpPr>
          <p:nvPr/>
        </p:nvSpPr>
        <p:spPr bwMode="auto">
          <a:xfrm>
            <a:off x="2139316" y="663913"/>
            <a:ext cx="11665584" cy="683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r>
              <a:rPr lang="en-US" altLang="en-US" sz="3840" dirty="0"/>
              <a:t>CS Cardiology Key Accessories and supplies</a:t>
            </a:r>
          </a:p>
        </p:txBody>
      </p:sp>
      <p:sp>
        <p:nvSpPr>
          <p:cNvPr id="679940" name="Text Box 4"/>
          <p:cNvSpPr txBox="1">
            <a:spLocks noChangeArrowheads="1"/>
          </p:cNvSpPr>
          <p:nvPr/>
        </p:nvSpPr>
        <p:spPr bwMode="auto">
          <a:xfrm>
            <a:off x="5534026" y="1617348"/>
            <a:ext cx="1996440" cy="683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r>
              <a:rPr lang="en-US" altLang="en-US" sz="1920" b="1" i="1"/>
              <a:t>ECG cables &amp; leadwire</a:t>
            </a:r>
          </a:p>
        </p:txBody>
      </p:sp>
      <p:sp>
        <p:nvSpPr>
          <p:cNvPr id="679941" name="Text Box 5"/>
          <p:cNvSpPr txBox="1">
            <a:spLocks noChangeArrowheads="1"/>
          </p:cNvSpPr>
          <p:nvPr/>
        </p:nvSpPr>
        <p:spPr bwMode="auto">
          <a:xfrm>
            <a:off x="7955282" y="1706882"/>
            <a:ext cx="1635384" cy="387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fr-FR" altLang="en-US" sz="1920" b="1" i="1"/>
              <a:t>Chart paper </a:t>
            </a:r>
            <a:endParaRPr lang="en-US" altLang="en-US" sz="1920" b="1" i="1"/>
          </a:p>
        </p:txBody>
      </p:sp>
      <p:pic>
        <p:nvPicPr>
          <p:cNvPr id="679942" name="Picture 6" descr="C:\WINNT\fortisf\Supplies Pictures\Zubehoer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6982" y="1916431"/>
            <a:ext cx="1520190" cy="12134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9943" name="Picture 7" descr="D:\docs\My Pictures\Electrodes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2212" y="3249930"/>
            <a:ext cx="1924050" cy="14725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9944" name="Picture 8" descr="E:\Supplies Pictures\Multilink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8281" y="2430781"/>
            <a:ext cx="1731646" cy="12306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79945" name="Picture 9" descr="D:\docs\My Pictures\2016032-001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3037" y="3819527"/>
            <a:ext cx="1238250" cy="11315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9946" name="Picture 10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5731" y="2314576"/>
            <a:ext cx="1634490" cy="14744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79947" name="Rectangle 11"/>
          <p:cNvSpPr>
            <a:spLocks noChangeArrowheads="1"/>
          </p:cNvSpPr>
          <p:nvPr/>
        </p:nvSpPr>
        <p:spPr bwMode="auto">
          <a:xfrm>
            <a:off x="10060306" y="1722122"/>
            <a:ext cx="1991251" cy="387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fr-FR" altLang="en-US" sz="1920" b="1" i="1"/>
              <a:t>Holter Supplies</a:t>
            </a:r>
            <a:endParaRPr lang="en-US" altLang="en-US" sz="1920" b="1" i="1"/>
          </a:p>
        </p:txBody>
      </p:sp>
      <p:pic>
        <p:nvPicPr>
          <p:cNvPr id="679948" name="Picture 12" descr="C:\Documents and Settings\Owner\My Documents\My Pictures\seer pouch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58377" y="2225040"/>
            <a:ext cx="1623061" cy="13944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9949" name="Picture 13" descr="C:\Documents and Settings\Owner\My Documents\My Pictures\8500 kit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57437" y="3653791"/>
            <a:ext cx="1405890" cy="1891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9952" name="Picture 16" descr="D:\docs\My Pictures\421012-001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62237" y="5543551"/>
            <a:ext cx="1525904" cy="1139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7866172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1202" name="Rectangle 1026"/>
          <p:cNvSpPr>
            <a:spLocks noGrp="1" noChangeArrowheads="1"/>
          </p:cNvSpPr>
          <p:nvPr>
            <p:ph type="title"/>
          </p:nvPr>
        </p:nvSpPr>
        <p:spPr>
          <a:xfrm>
            <a:off x="2240281" y="252890"/>
            <a:ext cx="10151746" cy="590931"/>
          </a:xfrm>
        </p:spPr>
        <p:txBody>
          <a:bodyPr/>
          <a:lstStyle/>
          <a:p>
            <a:r>
              <a:rPr lang="en-US" altLang="en-US" sz="3840"/>
              <a:t>Resting ECG</a:t>
            </a:r>
          </a:p>
        </p:txBody>
      </p:sp>
      <p:sp>
        <p:nvSpPr>
          <p:cNvPr id="691203" name="Rectangle 1027"/>
          <p:cNvSpPr>
            <a:spLocks noGrp="1" noChangeArrowheads="1"/>
          </p:cNvSpPr>
          <p:nvPr>
            <p:ph type="body" sz="half" idx="1"/>
          </p:nvPr>
        </p:nvSpPr>
        <p:spPr>
          <a:xfrm>
            <a:off x="121920" y="1068705"/>
            <a:ext cx="8900160" cy="5805898"/>
          </a:xfrm>
        </p:spPr>
        <p:txBody>
          <a:bodyPr/>
          <a:lstStyle/>
          <a:p>
            <a:pPr marL="114300" indent="0">
              <a:lnSpc>
                <a:spcPct val="80000"/>
              </a:lnSpc>
              <a:buNone/>
            </a:pPr>
            <a:r>
              <a:rPr lang="en-US" altLang="en-US" b="1" dirty="0">
                <a:solidFill>
                  <a:srgbClr val="FF0000"/>
                </a:solidFill>
              </a:rPr>
              <a:t>What is it?</a:t>
            </a:r>
          </a:p>
          <a:p>
            <a:pPr>
              <a:lnSpc>
                <a:spcPct val="80000"/>
              </a:lnSpc>
              <a:buFontTx/>
              <a:buChar char="•"/>
            </a:pPr>
            <a:r>
              <a:rPr lang="en-US" altLang="en-US" sz="1920" dirty="0"/>
              <a:t>Resting ECG is a test records the heart's rate and rhythm while patient is at rest</a:t>
            </a:r>
          </a:p>
          <a:p>
            <a:pPr fontAlgn="t">
              <a:lnSpc>
                <a:spcPct val="80000"/>
              </a:lnSpc>
              <a:buFontTx/>
              <a:buChar char="•"/>
            </a:pPr>
            <a:r>
              <a:rPr lang="en-US" altLang="en-US" sz="1920" dirty="0"/>
              <a:t>The ECG cart will draw lines across a strip of paper, allowing the doctor to look for any changes in the heart's normal rhythm</a:t>
            </a:r>
          </a:p>
          <a:p>
            <a:pPr marL="114300" indent="0" fontAlgn="t">
              <a:lnSpc>
                <a:spcPct val="80000"/>
              </a:lnSpc>
              <a:buNone/>
            </a:pPr>
            <a:endParaRPr lang="en-US" altLang="en-US" sz="1920" dirty="0"/>
          </a:p>
          <a:p>
            <a:pPr marL="114300" indent="0">
              <a:lnSpc>
                <a:spcPct val="80000"/>
              </a:lnSpc>
              <a:buNone/>
            </a:pPr>
            <a:r>
              <a:rPr lang="en-US" altLang="en-US" b="1" dirty="0">
                <a:solidFill>
                  <a:srgbClr val="FF0000"/>
                </a:solidFill>
              </a:rPr>
              <a:t>Why is it done?</a:t>
            </a:r>
          </a:p>
          <a:p>
            <a:pPr>
              <a:lnSpc>
                <a:spcPct val="80000"/>
              </a:lnSpc>
              <a:buFontTx/>
              <a:buChar char="•"/>
            </a:pPr>
            <a:r>
              <a:rPr lang="en-US" altLang="en-US" sz="1920" dirty="0"/>
              <a:t>Evaluate symptoms associated with heart disease:</a:t>
            </a:r>
          </a:p>
          <a:p>
            <a:pPr>
              <a:lnSpc>
                <a:spcPct val="80000"/>
              </a:lnSpc>
            </a:pPr>
            <a:r>
              <a:rPr lang="en-US" altLang="en-US" sz="1920" dirty="0"/>
              <a:t>Chest pain</a:t>
            </a:r>
          </a:p>
          <a:p>
            <a:pPr>
              <a:lnSpc>
                <a:spcPct val="80000"/>
              </a:lnSpc>
            </a:pPr>
            <a:r>
              <a:rPr lang="en-US" altLang="en-US" sz="1920" dirty="0"/>
              <a:t>Shortness of breath</a:t>
            </a:r>
          </a:p>
          <a:p>
            <a:pPr>
              <a:lnSpc>
                <a:spcPct val="80000"/>
              </a:lnSpc>
            </a:pPr>
            <a:r>
              <a:rPr lang="en-US" altLang="en-US" sz="1920" dirty="0"/>
              <a:t>Dizziness or faintness</a:t>
            </a:r>
          </a:p>
          <a:p>
            <a:pPr>
              <a:lnSpc>
                <a:spcPct val="80000"/>
              </a:lnSpc>
            </a:pPr>
            <a:r>
              <a:rPr lang="en-US" altLang="en-US" sz="1920" dirty="0"/>
              <a:t>Irregular heart beats</a:t>
            </a:r>
          </a:p>
          <a:p>
            <a:pPr>
              <a:lnSpc>
                <a:spcPct val="80000"/>
              </a:lnSpc>
              <a:buFontTx/>
              <a:buChar char="•"/>
            </a:pPr>
            <a:r>
              <a:rPr lang="en-US" altLang="en-US" sz="1920" dirty="0"/>
              <a:t>Evaluate health if at risk</a:t>
            </a:r>
          </a:p>
          <a:p>
            <a:pPr lvl="1">
              <a:lnSpc>
                <a:spcPct val="80000"/>
              </a:lnSpc>
            </a:pPr>
            <a:r>
              <a:rPr lang="en-US" altLang="en-US" dirty="0"/>
              <a:t>High Cholesterol</a:t>
            </a:r>
          </a:p>
          <a:p>
            <a:pPr lvl="1">
              <a:lnSpc>
                <a:spcPct val="80000"/>
              </a:lnSpc>
            </a:pPr>
            <a:r>
              <a:rPr lang="en-US" altLang="en-US" dirty="0"/>
              <a:t>High Blood Pressure</a:t>
            </a:r>
          </a:p>
          <a:p>
            <a:pPr>
              <a:lnSpc>
                <a:spcPct val="80000"/>
              </a:lnSpc>
              <a:buFontTx/>
              <a:buChar char="•"/>
            </a:pPr>
            <a:r>
              <a:rPr lang="en-US" altLang="en-US" sz="1920" dirty="0"/>
              <a:t>Family history of heart disease</a:t>
            </a:r>
          </a:p>
          <a:p>
            <a:pPr>
              <a:lnSpc>
                <a:spcPct val="80000"/>
              </a:lnSpc>
              <a:buFontTx/>
              <a:buChar char="•"/>
            </a:pPr>
            <a:r>
              <a:rPr lang="en-US" altLang="en-US" sz="1920" dirty="0"/>
              <a:t>Monitor effects of medications</a:t>
            </a:r>
          </a:p>
          <a:p>
            <a:pPr>
              <a:lnSpc>
                <a:spcPct val="80000"/>
              </a:lnSpc>
            </a:pPr>
            <a:endParaRPr lang="en-US" altLang="en-US" sz="1920" dirty="0"/>
          </a:p>
          <a:p>
            <a:pPr lvl="1">
              <a:lnSpc>
                <a:spcPct val="80000"/>
              </a:lnSpc>
            </a:pPr>
            <a:endParaRPr lang="en-US" altLang="en-US" dirty="0"/>
          </a:p>
          <a:p>
            <a:pPr>
              <a:lnSpc>
                <a:spcPct val="80000"/>
              </a:lnSpc>
              <a:buFontTx/>
              <a:buChar char="•"/>
            </a:pPr>
            <a:endParaRPr lang="en-US" altLang="en-US" sz="1920" dirty="0"/>
          </a:p>
          <a:p>
            <a:pPr>
              <a:lnSpc>
                <a:spcPct val="80000"/>
              </a:lnSpc>
            </a:pPr>
            <a:endParaRPr lang="en-US" altLang="en-US" sz="2880" dirty="0"/>
          </a:p>
        </p:txBody>
      </p:sp>
      <p:graphicFrame>
        <p:nvGraphicFramePr>
          <p:cNvPr id="691207" name="Object 1031"/>
          <p:cNvGraphicFramePr>
            <a:graphicFrameLocks noGrp="1" noChangeAspect="1"/>
          </p:cNvGraphicFramePr>
          <p:nvPr>
            <p:ph type="clipArt" sz="half" idx="2"/>
          </p:nvPr>
        </p:nvGraphicFramePr>
        <p:xfrm>
          <a:off x="9377907" y="1480185"/>
          <a:ext cx="5252493" cy="67494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Image" r:id="rId3" imgW="3657607" imgH="3685039" progId="Photoshop.Image.6">
                  <p:embed/>
                </p:oleObj>
              </mc:Choice>
              <mc:Fallback>
                <p:oleObj name="Image" r:id="rId3" imgW="3657607" imgH="3685039" progId="Photoshop.Image.6">
                  <p:embed/>
                  <p:pic>
                    <p:nvPicPr>
                      <p:cNvPr id="691207" name="Object 103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377907" y="1480185"/>
                        <a:ext cx="5252493" cy="67494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1035"/>
          <p:cNvGraphicFramePr>
            <a:graphicFrameLocks noChangeAspect="1"/>
          </p:cNvGraphicFramePr>
          <p:nvPr/>
        </p:nvGraphicFramePr>
        <p:xfrm>
          <a:off x="9348243" y="1"/>
          <a:ext cx="5282157" cy="37648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Image" r:id="rId5" imgW="5486411" imgH="3657607" progId="Photoshop.Image.6">
                  <p:embed/>
                </p:oleObj>
              </mc:Choice>
              <mc:Fallback>
                <p:oleObj name="Image" r:id="rId5" imgW="5486411" imgH="3657607" progId="Photoshop.Image.6">
                  <p:embed/>
                  <p:pic>
                    <p:nvPicPr>
                      <p:cNvPr id="5" name="Object 10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348243" y="1"/>
                        <a:ext cx="5282157" cy="376489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42823921"/>
      </p:ext>
    </p:extLst>
  </p:cSld>
  <p:clrMapOvr>
    <a:masterClrMapping/>
  </p:clrMapOvr>
  <p:transition>
    <p:wipe dir="d"/>
  </p:transition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7058" name="Rectangle 2"/>
          <p:cNvSpPr>
            <a:spLocks noGrp="1" noChangeArrowheads="1"/>
          </p:cNvSpPr>
          <p:nvPr>
            <p:ph type="title"/>
          </p:nvPr>
        </p:nvSpPr>
        <p:spPr>
          <a:xfrm>
            <a:off x="2240281" y="252890"/>
            <a:ext cx="10151746" cy="590931"/>
          </a:xfrm>
        </p:spPr>
        <p:txBody>
          <a:bodyPr/>
          <a:lstStyle/>
          <a:p>
            <a:r>
              <a:rPr lang="en-US" altLang="en-US" sz="3840"/>
              <a:t>Resting ECG Electrode Placement</a:t>
            </a:r>
          </a:p>
        </p:txBody>
      </p:sp>
      <p:sp>
        <p:nvSpPr>
          <p:cNvPr id="557059" name="Rectangle 3"/>
          <p:cNvSpPr>
            <a:spLocks noGrp="1" noChangeArrowheads="1"/>
          </p:cNvSpPr>
          <p:nvPr>
            <p:ph type="body" sz="half" idx="2"/>
          </p:nvPr>
        </p:nvSpPr>
        <p:spPr>
          <a:xfrm>
            <a:off x="7316152" y="2636521"/>
            <a:ext cx="6749414" cy="5593080"/>
          </a:xfrm>
        </p:spPr>
        <p:txBody>
          <a:bodyPr>
            <a:normAutofit/>
          </a:bodyPr>
          <a:lstStyle/>
          <a:p>
            <a:pPr>
              <a:buFontTx/>
              <a:buChar char="•"/>
            </a:pPr>
            <a:r>
              <a:rPr lang="en-US" altLang="en-US" sz="2400" dirty="0"/>
              <a:t>Test uses 10 electrodes – most often</a:t>
            </a:r>
          </a:p>
          <a:p>
            <a:pPr>
              <a:buFontTx/>
              <a:buChar char="•"/>
            </a:pPr>
            <a:endParaRPr lang="en-US" altLang="en-US" sz="2400" dirty="0"/>
          </a:p>
          <a:p>
            <a:pPr>
              <a:buFontTx/>
              <a:buChar char="•"/>
            </a:pPr>
            <a:r>
              <a:rPr lang="en-US" altLang="en-US" sz="2400" dirty="0"/>
              <a:t>Limb leads on outer arms and lower legs</a:t>
            </a:r>
          </a:p>
          <a:p>
            <a:pPr>
              <a:buFontTx/>
              <a:buChar char="•"/>
            </a:pPr>
            <a:endParaRPr lang="en-US" altLang="en-US" sz="2400" dirty="0"/>
          </a:p>
          <a:p>
            <a:pPr>
              <a:buFontTx/>
              <a:buChar char="•"/>
            </a:pPr>
            <a:r>
              <a:rPr lang="en-US" altLang="en-US" sz="2400" dirty="0"/>
              <a:t>C (V)-Leads on chest</a:t>
            </a:r>
          </a:p>
          <a:p>
            <a:endParaRPr lang="en-US" altLang="en-US" sz="2400" b="1" dirty="0"/>
          </a:p>
        </p:txBody>
      </p:sp>
      <p:pic>
        <p:nvPicPr>
          <p:cNvPr id="557060" name="Picture 4" descr="C:\Documents and Settings\Owner\My Documents\My Pictures\lead placement 1.jpg"/>
          <p:cNvPicPr>
            <a:picLocks noGrp="1" noChangeAspect="1" noChangeArrowheads="1"/>
          </p:cNvPicPr>
          <p:nvPr>
            <p:ph type="clipArt"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82216" y="2186941"/>
            <a:ext cx="3968115" cy="370713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669577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62" name="Rectangle 2"/>
          <p:cNvSpPr>
            <a:spLocks noGrp="1" noChangeArrowheads="1"/>
          </p:cNvSpPr>
          <p:nvPr>
            <p:ph type="title"/>
          </p:nvPr>
        </p:nvSpPr>
        <p:spPr>
          <a:xfrm>
            <a:off x="2240281" y="252890"/>
            <a:ext cx="10151746" cy="590931"/>
          </a:xfrm>
        </p:spPr>
        <p:txBody>
          <a:bodyPr/>
          <a:lstStyle/>
          <a:p>
            <a:r>
              <a:rPr lang="en-US" altLang="en-US" sz="3840"/>
              <a:t>GE Resting ECG Systems</a:t>
            </a:r>
          </a:p>
        </p:txBody>
      </p:sp>
      <p:sp>
        <p:nvSpPr>
          <p:cNvPr id="655363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2257426" y="1594486"/>
            <a:ext cx="4983480" cy="5297805"/>
          </a:xfrm>
        </p:spPr>
        <p:txBody>
          <a:bodyPr>
            <a:normAutofit lnSpcReduction="10000"/>
          </a:bodyPr>
          <a:lstStyle/>
          <a:p>
            <a:pPr marL="114300" indent="0">
              <a:buNone/>
            </a:pPr>
            <a:r>
              <a:rPr lang="en-US" altLang="en-US" sz="2880" dirty="0">
                <a:solidFill>
                  <a:srgbClr val="3C73B9"/>
                </a:solidFill>
              </a:rPr>
              <a:t>Current Resting ECG Systems</a:t>
            </a:r>
          </a:p>
          <a:p>
            <a:pPr lvl="1"/>
            <a:r>
              <a:rPr lang="en-US" altLang="en-US" sz="2160" dirty="0"/>
              <a:t>MAC 500</a:t>
            </a:r>
          </a:p>
          <a:p>
            <a:pPr lvl="1"/>
            <a:r>
              <a:rPr lang="en-US" altLang="en-US" sz="2160" dirty="0"/>
              <a:t>MAC 1200</a:t>
            </a:r>
          </a:p>
          <a:p>
            <a:pPr lvl="1"/>
            <a:r>
              <a:rPr lang="en-US" altLang="en-US" sz="2160" dirty="0"/>
              <a:t>MAC 5500</a:t>
            </a:r>
          </a:p>
          <a:p>
            <a:pPr lvl="1"/>
            <a:endParaRPr lang="en-US" altLang="en-US" sz="2160" dirty="0"/>
          </a:p>
          <a:p>
            <a:pPr marL="114300" indent="0">
              <a:buNone/>
            </a:pPr>
            <a:r>
              <a:rPr lang="en-US" altLang="en-US" sz="2880" dirty="0">
                <a:solidFill>
                  <a:srgbClr val="3C73B9"/>
                </a:solidFill>
              </a:rPr>
              <a:t>Older Resting ECG Systems</a:t>
            </a:r>
          </a:p>
          <a:p>
            <a:pPr lvl="1"/>
            <a:r>
              <a:rPr lang="en-US" altLang="en-US" sz="1920" dirty="0"/>
              <a:t>MAC PC</a:t>
            </a:r>
          </a:p>
          <a:p>
            <a:pPr lvl="1"/>
            <a:r>
              <a:rPr lang="en-US" altLang="en-US" sz="1920" dirty="0"/>
              <a:t>MAC 6, MAC 8, MAC 12, MAC 15</a:t>
            </a:r>
          </a:p>
          <a:p>
            <a:pPr lvl="1"/>
            <a:r>
              <a:rPr lang="en-US" altLang="en-US" sz="1920" dirty="0"/>
              <a:t>MAC 1000</a:t>
            </a:r>
          </a:p>
          <a:p>
            <a:pPr lvl="1"/>
            <a:r>
              <a:rPr lang="en-US" altLang="en-US" sz="1920" dirty="0" err="1"/>
              <a:t>Centra</a:t>
            </a:r>
            <a:endParaRPr lang="en-US" altLang="en-US" sz="1920" dirty="0"/>
          </a:p>
          <a:p>
            <a:pPr lvl="1"/>
            <a:r>
              <a:rPr lang="en-US" altLang="en-US" sz="1920" dirty="0"/>
              <a:t>MAX 1</a:t>
            </a:r>
          </a:p>
          <a:p>
            <a:pPr lvl="1"/>
            <a:r>
              <a:rPr lang="en-US" altLang="en-US" sz="1920" dirty="0"/>
              <a:t>MAX Personal</a:t>
            </a:r>
          </a:p>
          <a:p>
            <a:pPr lvl="1"/>
            <a:r>
              <a:rPr lang="en-US" altLang="en-US" sz="1920" dirty="0"/>
              <a:t>MAC VU</a:t>
            </a:r>
          </a:p>
          <a:p>
            <a:pPr lvl="1"/>
            <a:r>
              <a:rPr lang="en-US" altLang="en-US" sz="2160" dirty="0"/>
              <a:t>MAC 5000</a:t>
            </a:r>
          </a:p>
        </p:txBody>
      </p:sp>
      <p:pic>
        <p:nvPicPr>
          <p:cNvPr id="655364" name="Picture 4" descr="MAC 1200 S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06966" y="664596"/>
            <a:ext cx="2556510" cy="1605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5365" name="Picture 5"/>
          <p:cNvPicPr>
            <a:picLocks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7587" y="1133477"/>
            <a:ext cx="1922144" cy="18935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55367" name="Text Box 7"/>
          <p:cNvSpPr txBox="1">
            <a:spLocks noChangeArrowheads="1"/>
          </p:cNvSpPr>
          <p:nvPr/>
        </p:nvSpPr>
        <p:spPr bwMode="auto">
          <a:xfrm>
            <a:off x="7298056" y="3185160"/>
            <a:ext cx="1804035" cy="424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en-US" sz="2160" b="1">
                <a:latin typeface="GE Inspira Pitch" pitchFamily="34" charset="0"/>
              </a:rPr>
              <a:t>MAC 500</a:t>
            </a:r>
          </a:p>
        </p:txBody>
      </p:sp>
      <p:sp>
        <p:nvSpPr>
          <p:cNvPr id="655368" name="Text Box 8"/>
          <p:cNvSpPr txBox="1">
            <a:spLocks noChangeArrowheads="1"/>
          </p:cNvSpPr>
          <p:nvPr/>
        </p:nvSpPr>
        <p:spPr bwMode="auto">
          <a:xfrm>
            <a:off x="10607994" y="2572109"/>
            <a:ext cx="2559366" cy="424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en-US" sz="2160" b="1" dirty="0">
                <a:latin typeface="GE Inspira Pitch" pitchFamily="34" charset="0"/>
              </a:rPr>
              <a:t>MAC 1200 </a:t>
            </a:r>
          </a:p>
        </p:txBody>
      </p:sp>
      <p:sp>
        <p:nvSpPr>
          <p:cNvPr id="655369" name="Text Box 9"/>
          <p:cNvSpPr txBox="1">
            <a:spLocks noChangeArrowheads="1"/>
          </p:cNvSpPr>
          <p:nvPr/>
        </p:nvSpPr>
        <p:spPr bwMode="auto">
          <a:xfrm>
            <a:off x="7940994" y="5821680"/>
            <a:ext cx="2657475" cy="424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en-US" sz="2160" b="1" dirty="0">
                <a:latin typeface="GE Inspira Pitch" pitchFamily="34" charset="0"/>
              </a:rPr>
              <a:t>MAC 5500 </a:t>
            </a:r>
          </a:p>
        </p:txBody>
      </p:sp>
      <p:pic>
        <p:nvPicPr>
          <p:cNvPr id="655370" name="Picture 10" descr="mac5000carthotcover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73" r="10751" b="47331"/>
          <a:stretch>
            <a:fillRect/>
          </a:stretch>
        </p:blipFill>
        <p:spPr bwMode="auto">
          <a:xfrm>
            <a:off x="10607994" y="3682865"/>
            <a:ext cx="3568064" cy="36614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6294922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9394" name="Rectangle 1026"/>
          <p:cNvSpPr>
            <a:spLocks noGrp="1" noChangeArrowheads="1"/>
          </p:cNvSpPr>
          <p:nvPr>
            <p:ph type="title"/>
          </p:nvPr>
        </p:nvSpPr>
        <p:spPr>
          <a:xfrm>
            <a:off x="2240281" y="252890"/>
            <a:ext cx="10151746" cy="590931"/>
          </a:xfrm>
        </p:spPr>
        <p:txBody>
          <a:bodyPr/>
          <a:lstStyle/>
          <a:p>
            <a:r>
              <a:rPr lang="en-US" altLang="en-US" sz="3840"/>
              <a:t>Cables &amp; Leadwires</a:t>
            </a:r>
          </a:p>
        </p:txBody>
      </p:sp>
      <p:sp>
        <p:nvSpPr>
          <p:cNvPr id="699395" name="Rectangle 1027"/>
          <p:cNvSpPr>
            <a:spLocks noGrp="1" noChangeArrowheads="1"/>
          </p:cNvSpPr>
          <p:nvPr>
            <p:ph type="body" sz="half" idx="1"/>
          </p:nvPr>
        </p:nvSpPr>
        <p:spPr>
          <a:xfrm>
            <a:off x="1378339" y="2631048"/>
            <a:ext cx="5646421" cy="2929520"/>
          </a:xfrm>
        </p:spPr>
        <p:txBody>
          <a:bodyPr/>
          <a:lstStyle/>
          <a:p>
            <a:pPr marL="502920" indent="-502920">
              <a:lnSpc>
                <a:spcPct val="80000"/>
              </a:lnSpc>
            </a:pPr>
            <a:r>
              <a:rPr lang="en-US" altLang="en-US" sz="2400" b="1" dirty="0">
                <a:solidFill>
                  <a:srgbClr val="FF0000"/>
                </a:solidFill>
              </a:rPr>
              <a:t>MAC 500, MAC 1200 ST, </a:t>
            </a:r>
            <a:r>
              <a:rPr lang="en-US" altLang="en-US" sz="2400" b="1" dirty="0" err="1">
                <a:solidFill>
                  <a:srgbClr val="FF0000"/>
                </a:solidFill>
              </a:rPr>
              <a:t>CardioSys</a:t>
            </a:r>
            <a:r>
              <a:rPr lang="en-US" altLang="en-US" sz="2400" b="1" dirty="0">
                <a:solidFill>
                  <a:srgbClr val="FF0000"/>
                </a:solidFill>
              </a:rPr>
              <a:t>/Soft</a:t>
            </a:r>
          </a:p>
          <a:p>
            <a:pPr marL="941070" lvl="2" indent="-457200">
              <a:lnSpc>
                <a:spcPct val="80000"/>
              </a:lnSpc>
            </a:pPr>
            <a:endParaRPr lang="en-US" altLang="en-US" sz="1680" dirty="0"/>
          </a:p>
          <a:p>
            <a:pPr marL="1411606" lvl="3" indent="-457200">
              <a:lnSpc>
                <a:spcPct val="80000"/>
              </a:lnSpc>
            </a:pPr>
            <a:r>
              <a:rPr lang="en-US" altLang="en-US" sz="1680" dirty="0"/>
              <a:t>Set of 10 with banana </a:t>
            </a:r>
          </a:p>
          <a:p>
            <a:pPr marL="1411606" lvl="3" indent="-457200">
              <a:lnSpc>
                <a:spcPct val="80000"/>
              </a:lnSpc>
            </a:pPr>
            <a:r>
              <a:rPr lang="en-US" altLang="en-US" sz="1680" dirty="0"/>
              <a:t>Set of 10 with grabber </a:t>
            </a:r>
          </a:p>
          <a:p>
            <a:pPr marL="1411606" lvl="3" indent="-457200">
              <a:lnSpc>
                <a:spcPct val="80000"/>
              </a:lnSpc>
            </a:pPr>
            <a:r>
              <a:rPr lang="en-US" altLang="en-US" sz="1680" dirty="0"/>
              <a:t>Set of 5 with long length</a:t>
            </a:r>
          </a:p>
          <a:p>
            <a:pPr marL="1411606" lvl="3" indent="-457200">
              <a:lnSpc>
                <a:spcPct val="80000"/>
              </a:lnSpc>
            </a:pPr>
            <a:r>
              <a:rPr lang="en-US" altLang="en-US" sz="1680" dirty="0"/>
              <a:t> </a:t>
            </a:r>
          </a:p>
          <a:p>
            <a:pPr marL="640080" lvl="1" indent="-638176">
              <a:lnSpc>
                <a:spcPct val="80000"/>
              </a:lnSpc>
            </a:pPr>
            <a:r>
              <a:rPr lang="en-US" altLang="en-US" sz="2400" b="1" dirty="0">
                <a:solidFill>
                  <a:srgbClr val="FF0000"/>
                </a:solidFill>
              </a:rPr>
              <a:t>Electrode adapter</a:t>
            </a:r>
          </a:p>
          <a:p>
            <a:pPr marL="941070" lvl="2" indent="-457200">
              <a:lnSpc>
                <a:spcPct val="80000"/>
              </a:lnSpc>
            </a:pPr>
            <a:r>
              <a:rPr lang="en-US" altLang="en-US" sz="1680" dirty="0"/>
              <a:t>Universal adapter clips for use with banana-ends				</a:t>
            </a:r>
          </a:p>
          <a:p>
            <a:pPr marL="941070" lvl="2" indent="-457200">
              <a:lnSpc>
                <a:spcPct val="80000"/>
              </a:lnSpc>
            </a:pPr>
            <a:endParaRPr lang="en-US" altLang="en-US" sz="1680" dirty="0"/>
          </a:p>
          <a:p>
            <a:pPr marL="941070" lvl="2" indent="-457200">
              <a:lnSpc>
                <a:spcPct val="80000"/>
              </a:lnSpc>
            </a:pPr>
            <a:endParaRPr lang="en-US" altLang="en-US" sz="144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814706" y="2590790"/>
            <a:ext cx="542630" cy="1396090"/>
          </a:xfrm>
          <a:prstGeom prst="rect">
            <a:avLst/>
          </a:prstGeom>
          <a:ln w="12700" cap="sq" cmpd="thickThin">
            <a:noFill/>
            <a:prstDash val="solid"/>
            <a:miter lim="800000"/>
          </a:ln>
          <a:effectLst/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66901" y="4968240"/>
            <a:ext cx="946898" cy="772160"/>
          </a:xfrm>
          <a:prstGeom prst="rect">
            <a:avLst/>
          </a:prstGeom>
          <a:ln w="12700" cap="sq" cmpd="thickThin">
            <a:noFill/>
            <a:prstDash val="solid"/>
            <a:miter lim="800000"/>
          </a:ln>
          <a:effectLst/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0" b="18296"/>
          <a:stretch/>
        </p:blipFill>
        <p:spPr>
          <a:xfrm>
            <a:off x="8534400" y="4946905"/>
            <a:ext cx="1823267" cy="793496"/>
          </a:xfrm>
          <a:prstGeom prst="rect">
            <a:avLst/>
          </a:prstGeom>
          <a:ln w="12700" cap="sq" cmpd="thickThin">
            <a:noFill/>
            <a:prstDash val="solid"/>
            <a:miter lim="800000"/>
          </a:ln>
          <a:effectLst/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988048">
            <a:off x="7064560" y="1672217"/>
            <a:ext cx="1445696" cy="2313877"/>
          </a:xfrm>
          <a:prstGeom prst="rect">
            <a:avLst/>
          </a:prstGeom>
          <a:ln w="12700" cap="sq" cmpd="thickThin">
            <a:noFill/>
            <a:prstDash val="solid"/>
            <a:miter lim="800000"/>
          </a:ln>
          <a:effectLst/>
        </p:spPr>
      </p:pic>
    </p:spTree>
    <p:extLst>
      <p:ext uri="{BB962C8B-B14F-4D97-AF65-F5344CB8AC3E}">
        <p14:creationId xmlns:p14="http://schemas.microsoft.com/office/powerpoint/2010/main" val="118756335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22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en-US" sz="3840" dirty="0"/>
              <a:t>Reusable ECG Electrodes – Cream and gel - EOL</a:t>
            </a:r>
            <a:br>
              <a:rPr lang="en-US" altLang="en-US" sz="3840" dirty="0"/>
            </a:br>
            <a:endParaRPr lang="en-US" altLang="en-US" sz="3840" dirty="0"/>
          </a:p>
        </p:txBody>
      </p:sp>
      <p:sp>
        <p:nvSpPr>
          <p:cNvPr id="491523" name="Rectangle 3"/>
          <p:cNvSpPr>
            <a:spLocks noGrp="1" noChangeArrowheads="1"/>
          </p:cNvSpPr>
          <p:nvPr>
            <p:ph type="body" sz="half" idx="2"/>
          </p:nvPr>
        </p:nvSpPr>
        <p:spPr>
          <a:xfrm>
            <a:off x="6396991" y="1034417"/>
            <a:ext cx="5995035" cy="5274059"/>
          </a:xfrm>
        </p:spPr>
        <p:txBody>
          <a:bodyPr/>
          <a:lstStyle/>
          <a:p>
            <a:pPr marL="114300" indent="0">
              <a:lnSpc>
                <a:spcPct val="80000"/>
              </a:lnSpc>
              <a:buNone/>
            </a:pPr>
            <a:r>
              <a:rPr lang="en-US" altLang="en-US" sz="2640" dirty="0">
                <a:solidFill>
                  <a:srgbClr val="FF0000"/>
                </a:solidFill>
              </a:rPr>
              <a:t>Electrode Cream or Gel</a:t>
            </a:r>
          </a:p>
          <a:p>
            <a:pPr lvl="1">
              <a:lnSpc>
                <a:spcPct val="80000"/>
              </a:lnSpc>
            </a:pPr>
            <a:r>
              <a:rPr lang="en-US" altLang="en-US" dirty="0"/>
              <a:t>Crème - Box of  10 tubes, </a:t>
            </a:r>
            <a:r>
              <a:rPr lang="en-US" altLang="en-US" dirty="0" err="1"/>
              <a:t>flavoured</a:t>
            </a:r>
            <a:endParaRPr lang="en-US" altLang="en-US" dirty="0"/>
          </a:p>
          <a:p>
            <a:pPr lvl="1">
              <a:lnSpc>
                <a:spcPct val="80000"/>
              </a:lnSpc>
            </a:pPr>
            <a:r>
              <a:rPr lang="en-US" altLang="en-US" dirty="0"/>
              <a:t>Crème,  250 ml bottle and 5 L canister</a:t>
            </a:r>
          </a:p>
          <a:p>
            <a:pPr lvl="1">
              <a:lnSpc>
                <a:spcPct val="80000"/>
              </a:lnSpc>
            </a:pPr>
            <a:r>
              <a:rPr lang="en-US" altLang="en-US" dirty="0"/>
              <a:t>Gel – Box of 10 tubes,  transparent </a:t>
            </a:r>
          </a:p>
          <a:p>
            <a:pPr lvl="1">
              <a:lnSpc>
                <a:spcPct val="80000"/>
              </a:lnSpc>
            </a:pPr>
            <a:endParaRPr lang="en-US" altLang="en-US" dirty="0"/>
          </a:p>
          <a:p>
            <a:pPr marL="114300" indent="0">
              <a:lnSpc>
                <a:spcPct val="80000"/>
              </a:lnSpc>
              <a:buNone/>
            </a:pPr>
            <a:r>
              <a:rPr lang="en-US" altLang="en-US" sz="2640" dirty="0">
                <a:solidFill>
                  <a:srgbClr val="FF0000"/>
                </a:solidFill>
              </a:rPr>
              <a:t>Prepping Cream</a:t>
            </a:r>
          </a:p>
          <a:p>
            <a:pPr lvl="1">
              <a:lnSpc>
                <a:spcPct val="80000"/>
              </a:lnSpc>
            </a:pPr>
            <a:r>
              <a:rPr lang="en-US" altLang="en-US" dirty="0"/>
              <a:t>Crème </a:t>
            </a:r>
            <a:r>
              <a:rPr lang="en-US" altLang="en-US" dirty="0" err="1"/>
              <a:t>Epicont</a:t>
            </a:r>
            <a:r>
              <a:rPr lang="en-US" altLang="en-US" dirty="0"/>
              <a:t>, abrasive paste for skin, pack of 10</a:t>
            </a:r>
          </a:p>
          <a:p>
            <a:pPr lvl="1">
              <a:lnSpc>
                <a:spcPct val="80000"/>
              </a:lnSpc>
            </a:pPr>
            <a:endParaRPr lang="en-US" altLang="en-US" dirty="0"/>
          </a:p>
          <a:p>
            <a:pPr marL="114300" indent="0">
              <a:lnSpc>
                <a:spcPct val="80000"/>
              </a:lnSpc>
              <a:buNone/>
            </a:pPr>
            <a:r>
              <a:rPr lang="en-US" altLang="en-US" sz="2640" dirty="0">
                <a:solidFill>
                  <a:srgbClr val="FF0000"/>
                </a:solidFill>
              </a:rPr>
              <a:t>Electrode spray</a:t>
            </a:r>
          </a:p>
          <a:p>
            <a:pPr lvl="1">
              <a:lnSpc>
                <a:spcPct val="80000"/>
              </a:lnSpc>
            </a:pPr>
            <a:r>
              <a:rPr lang="en-US" altLang="en-US" dirty="0"/>
              <a:t>Spray – Box of 10 bottle </a:t>
            </a:r>
          </a:p>
          <a:p>
            <a:pPr lvl="1">
              <a:lnSpc>
                <a:spcPct val="80000"/>
              </a:lnSpc>
            </a:pPr>
            <a:r>
              <a:rPr lang="en-US" altLang="en-US" dirty="0"/>
              <a:t>Highly conductive, non-irritating, </a:t>
            </a:r>
          </a:p>
          <a:p>
            <a:pPr lvl="1">
              <a:lnSpc>
                <a:spcPct val="80000"/>
              </a:lnSpc>
            </a:pPr>
            <a:r>
              <a:rPr lang="en-US" altLang="en-US" dirty="0"/>
              <a:t>Contain isopropyl Alcohol for cleaning and </a:t>
            </a:r>
            <a:r>
              <a:rPr lang="en-US" altLang="en-US" dirty="0" err="1"/>
              <a:t>desinfection</a:t>
            </a:r>
            <a:endParaRPr lang="en-US" altLang="en-US" dirty="0"/>
          </a:p>
          <a:p>
            <a:pPr lvl="1">
              <a:lnSpc>
                <a:spcPct val="80000"/>
              </a:lnSpc>
            </a:pPr>
            <a:r>
              <a:rPr lang="en-US" altLang="en-US" dirty="0"/>
              <a:t>Particularly suitable to  KISS System</a:t>
            </a:r>
          </a:p>
          <a:p>
            <a:pPr lvl="1">
              <a:lnSpc>
                <a:spcPct val="80000"/>
              </a:lnSpc>
            </a:pPr>
            <a:endParaRPr lang="en-US" altLang="en-US" dirty="0"/>
          </a:p>
          <a:p>
            <a:pPr lvl="1">
              <a:lnSpc>
                <a:spcPct val="80000"/>
              </a:lnSpc>
            </a:pPr>
            <a:endParaRPr lang="en-US" altLang="en-US" dirty="0"/>
          </a:p>
          <a:p>
            <a:pPr lvl="1">
              <a:lnSpc>
                <a:spcPct val="80000"/>
              </a:lnSpc>
            </a:pPr>
            <a:endParaRPr lang="en-US" altLang="en-US" sz="2640" dirty="0"/>
          </a:p>
        </p:txBody>
      </p:sp>
      <p:sp>
        <p:nvSpPr>
          <p:cNvPr id="491524" name="Rectangle 4"/>
          <p:cNvSpPr>
            <a:spLocks noChangeArrowheads="1"/>
          </p:cNvSpPr>
          <p:nvPr/>
        </p:nvSpPr>
        <p:spPr bwMode="auto">
          <a:xfrm>
            <a:off x="3200400" y="182880"/>
            <a:ext cx="9235440" cy="7315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>
              <a:lnSpc>
                <a:spcPct val="90000"/>
              </a:lnSpc>
              <a:defRPr sz="4000">
                <a:solidFill>
                  <a:srgbClr val="1E4191"/>
                </a:solidFill>
                <a:latin typeface="GE Inspira" pitchFamily="34" charset="0"/>
              </a:defRPr>
            </a:lvl1pPr>
            <a:lvl2pPr>
              <a:lnSpc>
                <a:spcPct val="90000"/>
              </a:lnSpc>
              <a:defRPr sz="4000">
                <a:solidFill>
                  <a:srgbClr val="1E4191"/>
                </a:solidFill>
                <a:latin typeface="GE Inspira" pitchFamily="34" charset="0"/>
              </a:defRPr>
            </a:lvl2pPr>
            <a:lvl3pPr>
              <a:lnSpc>
                <a:spcPct val="90000"/>
              </a:lnSpc>
              <a:defRPr sz="4000">
                <a:solidFill>
                  <a:srgbClr val="1E4191"/>
                </a:solidFill>
                <a:latin typeface="GE Inspira" pitchFamily="34" charset="0"/>
              </a:defRPr>
            </a:lvl3pPr>
            <a:lvl4pPr>
              <a:lnSpc>
                <a:spcPct val="90000"/>
              </a:lnSpc>
              <a:defRPr sz="4000">
                <a:solidFill>
                  <a:srgbClr val="1E4191"/>
                </a:solidFill>
                <a:latin typeface="GE Inspira" pitchFamily="34" charset="0"/>
              </a:defRPr>
            </a:lvl4pPr>
            <a:lvl5pPr>
              <a:lnSpc>
                <a:spcPct val="90000"/>
              </a:lnSpc>
              <a:defRPr sz="4000">
                <a:solidFill>
                  <a:srgbClr val="1E4191"/>
                </a:solidFill>
                <a:latin typeface="GE Inspira" pitchFamily="34" charset="0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rgbClr val="1E4191"/>
                </a:solidFill>
                <a:latin typeface="GE Inspira" pitchFamily="34" charset="0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rgbClr val="1E4191"/>
                </a:solidFill>
                <a:latin typeface="GE Inspira" pitchFamily="34" charset="0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rgbClr val="1E4191"/>
                </a:solidFill>
                <a:latin typeface="GE Inspira" pitchFamily="34" charset="0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rgbClr val="1E4191"/>
                </a:solidFill>
                <a:latin typeface="GE Inspira" pitchFamily="34" charset="0"/>
              </a:defRPr>
            </a:lvl9pPr>
          </a:lstStyle>
          <a:p>
            <a:pPr eaLnBrk="1" hangingPunct="1"/>
            <a:endParaRPr lang="en-US" altLang="en-US" sz="4800"/>
          </a:p>
        </p:txBody>
      </p:sp>
      <p:sp>
        <p:nvSpPr>
          <p:cNvPr id="491525" name="Rectangle 5"/>
          <p:cNvSpPr>
            <a:spLocks noChangeArrowheads="1"/>
          </p:cNvSpPr>
          <p:nvPr/>
        </p:nvSpPr>
        <p:spPr bwMode="auto">
          <a:xfrm>
            <a:off x="7955281" y="1554480"/>
            <a:ext cx="4526280" cy="55778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ct val="50000"/>
              </a:spcBef>
              <a:buClr>
                <a:srgbClr val="004880"/>
              </a:buClr>
              <a:defRPr sz="2800">
                <a:solidFill>
                  <a:srgbClr val="1E4191"/>
                </a:solidFill>
                <a:latin typeface="GE Inspira" pitchFamily="34" charset="0"/>
              </a:defRPr>
            </a:lvl1pPr>
            <a:lvl2pPr marL="341313" indent="-339725">
              <a:lnSpc>
                <a:spcPct val="90000"/>
              </a:lnSpc>
              <a:spcBef>
                <a:spcPct val="30000"/>
              </a:spcBef>
              <a:buClr>
                <a:srgbClr val="004880"/>
              </a:buClr>
              <a:buFont typeface="GE Inspira" pitchFamily="34" charset="0"/>
              <a:buChar char="•"/>
              <a:defRPr sz="2400">
                <a:solidFill>
                  <a:srgbClr val="1E4191"/>
                </a:solidFill>
                <a:latin typeface="GE Inspira" pitchFamily="34" charset="0"/>
              </a:defRPr>
            </a:lvl2pPr>
            <a:lvl3pPr marL="744538" indent="-288925">
              <a:lnSpc>
                <a:spcPct val="90000"/>
              </a:lnSpc>
              <a:spcBef>
                <a:spcPct val="20000"/>
              </a:spcBef>
              <a:buClr>
                <a:srgbClr val="004880"/>
              </a:buClr>
              <a:buChar char="–"/>
              <a:defRPr>
                <a:solidFill>
                  <a:srgbClr val="1E4191"/>
                </a:solidFill>
                <a:latin typeface="GE Inspira" pitchFamily="34" charset="0"/>
              </a:defRPr>
            </a:lvl3pPr>
            <a:lvl4pPr marL="1146175" indent="-287338">
              <a:lnSpc>
                <a:spcPct val="90000"/>
              </a:lnSpc>
              <a:spcBef>
                <a:spcPct val="10000"/>
              </a:spcBef>
              <a:buClr>
                <a:srgbClr val="004880"/>
              </a:buClr>
              <a:buChar char="–"/>
              <a:defRPr>
                <a:solidFill>
                  <a:srgbClr val="1E4191"/>
                </a:solidFill>
                <a:latin typeface="GE Inspira" pitchFamily="34" charset="0"/>
              </a:defRPr>
            </a:lvl4pPr>
            <a:lvl5pPr marL="1546225" indent="-285750">
              <a:lnSpc>
                <a:spcPct val="90000"/>
              </a:lnSpc>
              <a:buClr>
                <a:srgbClr val="004880"/>
              </a:buClr>
              <a:buChar char="–"/>
              <a:defRPr>
                <a:solidFill>
                  <a:srgbClr val="1E4191"/>
                </a:solidFill>
                <a:latin typeface="GE Inspira" pitchFamily="34" charset="0"/>
              </a:defRPr>
            </a:lvl5pPr>
            <a:lvl6pPr marL="2003425" indent="-2857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880"/>
              </a:buClr>
              <a:buChar char="–"/>
              <a:defRPr>
                <a:solidFill>
                  <a:srgbClr val="1E4191"/>
                </a:solidFill>
                <a:latin typeface="GE Inspira" pitchFamily="34" charset="0"/>
              </a:defRPr>
            </a:lvl6pPr>
            <a:lvl7pPr marL="2460625" indent="-2857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880"/>
              </a:buClr>
              <a:buChar char="–"/>
              <a:defRPr>
                <a:solidFill>
                  <a:srgbClr val="1E4191"/>
                </a:solidFill>
                <a:latin typeface="GE Inspira" pitchFamily="34" charset="0"/>
              </a:defRPr>
            </a:lvl7pPr>
            <a:lvl8pPr marL="2917825" indent="-2857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880"/>
              </a:buClr>
              <a:buChar char="–"/>
              <a:defRPr>
                <a:solidFill>
                  <a:srgbClr val="1E4191"/>
                </a:solidFill>
                <a:latin typeface="GE Inspira" pitchFamily="34" charset="0"/>
              </a:defRPr>
            </a:lvl8pPr>
            <a:lvl9pPr marL="3375025" indent="-2857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880"/>
              </a:buClr>
              <a:buChar char="–"/>
              <a:defRPr>
                <a:solidFill>
                  <a:srgbClr val="1E4191"/>
                </a:solidFill>
                <a:latin typeface="GE Inspira" pitchFamily="34" charset="0"/>
              </a:defRPr>
            </a:lvl9pPr>
          </a:lstStyle>
          <a:p>
            <a:pPr eaLnBrk="1" hangingPunct="1"/>
            <a:endParaRPr lang="en-US" altLang="en-US" sz="3360"/>
          </a:p>
        </p:txBody>
      </p:sp>
      <p:pic>
        <p:nvPicPr>
          <p:cNvPr id="491533" name="Picture 13" descr="D:\fortisf\Supplies Pictures\217 083 05.jpg"/>
          <p:cNvPicPr>
            <a:picLocks noGrp="1" noChangeAspect="1" noChangeArrowheads="1"/>
          </p:cNvPicPr>
          <p:nvPr>
            <p:ph type="clipArt" sz="half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80311" y="1689460"/>
            <a:ext cx="2769870" cy="2105026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491534" name="Picture 14" descr="D:\fortisf\Supplies Pictures\217 307 02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4597" y="3783055"/>
            <a:ext cx="2777490" cy="2242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27845656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0130" name="Rectangle 1026"/>
          <p:cNvSpPr>
            <a:spLocks noGrp="1" noChangeArrowheads="1"/>
          </p:cNvSpPr>
          <p:nvPr>
            <p:ph type="title"/>
          </p:nvPr>
        </p:nvSpPr>
        <p:spPr>
          <a:xfrm>
            <a:off x="2240281" y="337186"/>
            <a:ext cx="10151746" cy="609600"/>
          </a:xfrm>
        </p:spPr>
        <p:txBody>
          <a:bodyPr>
            <a:normAutofit/>
          </a:bodyPr>
          <a:lstStyle/>
          <a:p>
            <a:r>
              <a:rPr lang="en-US" altLang="en-US" sz="3840" dirty="0"/>
              <a:t>Exercise/Stress Testing</a:t>
            </a:r>
          </a:p>
        </p:txBody>
      </p:sp>
      <p:sp>
        <p:nvSpPr>
          <p:cNvPr id="560131" name="Rectangle 1027"/>
          <p:cNvSpPr>
            <a:spLocks noGrp="1" noChangeArrowheads="1"/>
          </p:cNvSpPr>
          <p:nvPr>
            <p:ph type="body" sz="half" idx="1"/>
          </p:nvPr>
        </p:nvSpPr>
        <p:spPr>
          <a:xfrm>
            <a:off x="121920" y="935358"/>
            <a:ext cx="14264640" cy="6105525"/>
          </a:xfrm>
        </p:spPr>
        <p:txBody>
          <a:bodyPr>
            <a:normAutofit lnSpcReduction="10000"/>
          </a:bodyPr>
          <a:lstStyle/>
          <a:p>
            <a:pPr marL="114300" indent="0">
              <a:lnSpc>
                <a:spcPct val="80000"/>
              </a:lnSpc>
              <a:buNone/>
            </a:pPr>
            <a:r>
              <a:rPr lang="en-US" altLang="en-US" sz="2640" b="1" dirty="0">
                <a:solidFill>
                  <a:srgbClr val="FF0000"/>
                </a:solidFill>
              </a:rPr>
              <a:t>What is an Exercise/Stress Test</a:t>
            </a:r>
            <a:r>
              <a:rPr lang="en-US" altLang="en-US" sz="2640" b="1" dirty="0">
                <a:solidFill>
                  <a:schemeClr val="hlink"/>
                </a:solidFill>
              </a:rPr>
              <a:t>?</a:t>
            </a:r>
          </a:p>
          <a:p>
            <a:pPr>
              <a:lnSpc>
                <a:spcPct val="80000"/>
              </a:lnSpc>
            </a:pPr>
            <a:endParaRPr lang="en-US" altLang="en-US" sz="2640" b="1" dirty="0">
              <a:solidFill>
                <a:schemeClr val="hlink"/>
              </a:solidFill>
            </a:endParaRPr>
          </a:p>
          <a:p>
            <a:pPr>
              <a:lnSpc>
                <a:spcPct val="80000"/>
              </a:lnSpc>
              <a:buFontTx/>
              <a:buChar char="•"/>
            </a:pPr>
            <a:r>
              <a:rPr lang="en-US" altLang="en-US" sz="2040" dirty="0"/>
              <a:t>Records the electrical activity of heart on an electrocardiogram while a patient is doing exercise on a treadmill</a:t>
            </a:r>
          </a:p>
          <a:p>
            <a:pPr>
              <a:lnSpc>
                <a:spcPct val="80000"/>
              </a:lnSpc>
            </a:pPr>
            <a:endParaRPr lang="en-US" altLang="en-US" sz="2040" dirty="0"/>
          </a:p>
          <a:p>
            <a:pPr>
              <a:lnSpc>
                <a:spcPct val="80000"/>
              </a:lnSpc>
              <a:buFontTx/>
              <a:buChar char="•"/>
            </a:pPr>
            <a:r>
              <a:rPr lang="en-US" altLang="en-US" sz="2040" dirty="0"/>
              <a:t>Electrocardiogram is watched constantly, and blood pressure measured at each speed increase</a:t>
            </a:r>
          </a:p>
          <a:p>
            <a:pPr>
              <a:lnSpc>
                <a:spcPct val="80000"/>
              </a:lnSpc>
            </a:pPr>
            <a:endParaRPr lang="en-US" altLang="en-US" sz="2040" b="1" dirty="0"/>
          </a:p>
          <a:p>
            <a:pPr>
              <a:lnSpc>
                <a:spcPct val="80000"/>
              </a:lnSpc>
            </a:pPr>
            <a:endParaRPr lang="en-US" altLang="en-US" sz="2040" b="1" dirty="0"/>
          </a:p>
          <a:p>
            <a:pPr>
              <a:lnSpc>
                <a:spcPct val="80000"/>
              </a:lnSpc>
            </a:pPr>
            <a:endParaRPr lang="en-US" altLang="en-US" sz="2040" b="1" dirty="0"/>
          </a:p>
          <a:p>
            <a:pPr marL="114300" indent="0">
              <a:lnSpc>
                <a:spcPct val="80000"/>
              </a:lnSpc>
              <a:buNone/>
            </a:pPr>
            <a:r>
              <a:rPr lang="en-US" altLang="en-US" sz="2640" b="1" dirty="0">
                <a:solidFill>
                  <a:srgbClr val="FF0000"/>
                </a:solidFill>
              </a:rPr>
              <a:t>When is it used?</a:t>
            </a:r>
          </a:p>
          <a:p>
            <a:pPr>
              <a:lnSpc>
                <a:spcPct val="80000"/>
              </a:lnSpc>
            </a:pPr>
            <a:endParaRPr lang="en-US" altLang="en-US" sz="2640" b="1" dirty="0">
              <a:solidFill>
                <a:schemeClr val="hlink"/>
              </a:solidFill>
            </a:endParaRPr>
          </a:p>
          <a:p>
            <a:pPr>
              <a:lnSpc>
                <a:spcPct val="80000"/>
              </a:lnSpc>
              <a:buFontTx/>
              <a:buChar char="•"/>
            </a:pPr>
            <a:r>
              <a:rPr lang="en-US" altLang="en-US" sz="2040" dirty="0"/>
              <a:t>Exercise increases workload on heart</a:t>
            </a:r>
          </a:p>
          <a:p>
            <a:pPr>
              <a:lnSpc>
                <a:spcPct val="80000"/>
              </a:lnSpc>
              <a:buFontTx/>
              <a:buChar char="•"/>
            </a:pPr>
            <a:endParaRPr lang="en-US" altLang="en-US" sz="2040" dirty="0"/>
          </a:p>
          <a:p>
            <a:pPr>
              <a:lnSpc>
                <a:spcPct val="80000"/>
              </a:lnSpc>
              <a:buFontTx/>
              <a:buChar char="•"/>
            </a:pPr>
            <a:r>
              <a:rPr lang="en-US" altLang="en-US" sz="2040" dirty="0"/>
              <a:t>Evaluate potential of a heart disease</a:t>
            </a:r>
          </a:p>
          <a:p>
            <a:pPr>
              <a:lnSpc>
                <a:spcPct val="80000"/>
              </a:lnSpc>
              <a:buFontTx/>
              <a:buChar char="•"/>
            </a:pPr>
            <a:endParaRPr lang="en-US" altLang="en-US" sz="2040" dirty="0"/>
          </a:p>
          <a:p>
            <a:pPr>
              <a:lnSpc>
                <a:spcPct val="80000"/>
              </a:lnSpc>
            </a:pPr>
            <a:endParaRPr lang="en-US" altLang="en-US" sz="2040" dirty="0"/>
          </a:p>
          <a:p>
            <a:pPr>
              <a:lnSpc>
                <a:spcPct val="80000"/>
              </a:lnSpc>
              <a:buFontTx/>
              <a:buChar char="•"/>
            </a:pPr>
            <a:endParaRPr lang="en-US" altLang="en-US" dirty="0"/>
          </a:p>
        </p:txBody>
      </p:sp>
      <p:pic>
        <p:nvPicPr>
          <p:cNvPr id="560132" name="Picture 1028" descr="C:\Documents and Settings\Owner\My Documents\My Pictures\exercise photo.jpg"/>
          <p:cNvPicPr>
            <a:picLocks noGrp="1" noChangeAspect="1" noChangeArrowheads="1"/>
          </p:cNvPicPr>
          <p:nvPr>
            <p:ph type="clipArt"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461760" y="3441700"/>
            <a:ext cx="8046720" cy="47879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94480395"/>
      </p:ext>
    </p:extLst>
  </p:cSld>
  <p:clrMapOvr>
    <a:masterClrMapping/>
  </p:clrMapOvr>
  <p:transition spd="med">
    <p:checker/>
  </p:transition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5250" name="Rectangle 1026"/>
          <p:cNvSpPr>
            <a:spLocks noGrp="1" noChangeArrowheads="1"/>
          </p:cNvSpPr>
          <p:nvPr>
            <p:ph type="title"/>
          </p:nvPr>
        </p:nvSpPr>
        <p:spPr>
          <a:xfrm>
            <a:off x="2240281" y="252890"/>
            <a:ext cx="10151746" cy="590931"/>
          </a:xfrm>
        </p:spPr>
        <p:txBody>
          <a:bodyPr/>
          <a:lstStyle/>
          <a:p>
            <a:r>
              <a:rPr lang="en-US" altLang="en-US" sz="3840"/>
              <a:t>Exercise/Stress Testing</a:t>
            </a:r>
          </a:p>
        </p:txBody>
      </p:sp>
      <p:sp>
        <p:nvSpPr>
          <p:cNvPr id="565251" name="Rectangle 1027"/>
          <p:cNvSpPr>
            <a:spLocks noGrp="1" noChangeArrowheads="1"/>
          </p:cNvSpPr>
          <p:nvPr>
            <p:ph type="body" sz="half" idx="1"/>
          </p:nvPr>
        </p:nvSpPr>
        <p:spPr>
          <a:xfrm>
            <a:off x="121920" y="1371601"/>
            <a:ext cx="13898880" cy="4816088"/>
          </a:xfrm>
        </p:spPr>
        <p:txBody>
          <a:bodyPr/>
          <a:lstStyle/>
          <a:p>
            <a:pPr marL="114300" indent="0">
              <a:lnSpc>
                <a:spcPct val="80000"/>
              </a:lnSpc>
              <a:buNone/>
            </a:pPr>
            <a:r>
              <a:rPr lang="en-US" altLang="en-US" sz="2640" b="1" dirty="0">
                <a:solidFill>
                  <a:srgbClr val="FF0000"/>
                </a:solidFill>
              </a:rPr>
              <a:t>How is Stress Test Performed?</a:t>
            </a:r>
            <a:endParaRPr lang="en-US" altLang="en-US" sz="2640" b="1" dirty="0">
              <a:solidFill>
                <a:schemeClr val="hlink"/>
              </a:solidFill>
            </a:endParaRPr>
          </a:p>
          <a:p>
            <a:pPr>
              <a:lnSpc>
                <a:spcPct val="80000"/>
              </a:lnSpc>
              <a:buFontTx/>
              <a:buChar char="•"/>
            </a:pPr>
            <a:r>
              <a:rPr lang="en-US" altLang="en-US" sz="2040" dirty="0"/>
              <a:t>Skin is prepped to remove any dry skin cells, oil, perspiration to reduce artifact in the readings/signal</a:t>
            </a:r>
          </a:p>
          <a:p>
            <a:pPr>
              <a:lnSpc>
                <a:spcPct val="80000"/>
              </a:lnSpc>
              <a:buFontTx/>
              <a:buChar char="•"/>
            </a:pPr>
            <a:endParaRPr lang="en-US" altLang="en-US" sz="2040" dirty="0"/>
          </a:p>
          <a:p>
            <a:pPr>
              <a:lnSpc>
                <a:spcPct val="80000"/>
              </a:lnSpc>
              <a:buFontTx/>
              <a:buChar char="•"/>
            </a:pPr>
            <a:r>
              <a:rPr lang="en-US" altLang="en-US" sz="2040" dirty="0"/>
              <a:t>Foam or Vinyl Tape Electrodes placed on patient</a:t>
            </a:r>
          </a:p>
          <a:p>
            <a:pPr>
              <a:lnSpc>
                <a:spcPct val="80000"/>
              </a:lnSpc>
              <a:buFontTx/>
              <a:buChar char="•"/>
            </a:pPr>
            <a:endParaRPr lang="en-US" altLang="en-US" sz="2040" dirty="0"/>
          </a:p>
          <a:p>
            <a:pPr>
              <a:lnSpc>
                <a:spcPct val="80000"/>
              </a:lnSpc>
              <a:buFontTx/>
              <a:buChar char="•"/>
            </a:pPr>
            <a:r>
              <a:rPr lang="en-US" altLang="en-US" sz="2040" dirty="0" err="1"/>
              <a:t>Leadwire</a:t>
            </a:r>
            <a:r>
              <a:rPr lang="en-US" altLang="en-US" sz="2040" dirty="0"/>
              <a:t> connected to electrode via grabber</a:t>
            </a:r>
          </a:p>
          <a:p>
            <a:pPr>
              <a:lnSpc>
                <a:spcPct val="80000"/>
              </a:lnSpc>
            </a:pPr>
            <a:endParaRPr lang="en-US" altLang="en-US" sz="2040" dirty="0"/>
          </a:p>
          <a:p>
            <a:pPr>
              <a:lnSpc>
                <a:spcPct val="80000"/>
              </a:lnSpc>
              <a:buFontTx/>
              <a:buChar char="•"/>
            </a:pPr>
            <a:r>
              <a:rPr lang="en-US" altLang="en-US" sz="2040" dirty="0"/>
              <a:t>Procedure lasts 20 – 30 minutes</a:t>
            </a:r>
          </a:p>
          <a:p>
            <a:pPr marL="114300" indent="0">
              <a:lnSpc>
                <a:spcPct val="80000"/>
              </a:lnSpc>
              <a:buNone/>
            </a:pPr>
            <a:endParaRPr lang="en-US" altLang="en-US" sz="2040" dirty="0"/>
          </a:p>
          <a:p>
            <a:pPr marL="114300" indent="0">
              <a:lnSpc>
                <a:spcPct val="80000"/>
              </a:lnSpc>
              <a:buNone/>
            </a:pPr>
            <a:r>
              <a:rPr lang="en-US" altLang="en-US" sz="2640" b="1" dirty="0">
                <a:solidFill>
                  <a:srgbClr val="FF0000"/>
                </a:solidFill>
              </a:rPr>
              <a:t>What are the benefits of exercise/stress testing</a:t>
            </a:r>
          </a:p>
          <a:p>
            <a:pPr>
              <a:lnSpc>
                <a:spcPct val="80000"/>
              </a:lnSpc>
            </a:pPr>
            <a:endParaRPr lang="en-US" altLang="en-US" sz="2640" b="1" dirty="0">
              <a:solidFill>
                <a:schemeClr val="hlink"/>
              </a:solidFill>
            </a:endParaRPr>
          </a:p>
          <a:p>
            <a:pPr>
              <a:lnSpc>
                <a:spcPct val="80000"/>
              </a:lnSpc>
              <a:buFontTx/>
              <a:buChar char="•"/>
            </a:pPr>
            <a:r>
              <a:rPr lang="en-US" altLang="en-US" sz="2040" dirty="0"/>
              <a:t>Safest and most widely used tests for heart disease</a:t>
            </a:r>
          </a:p>
          <a:p>
            <a:pPr>
              <a:lnSpc>
                <a:spcPct val="80000"/>
              </a:lnSpc>
              <a:buFontTx/>
              <a:buChar char="•"/>
            </a:pPr>
            <a:endParaRPr lang="en-US" altLang="en-US" sz="2040" dirty="0"/>
          </a:p>
          <a:p>
            <a:pPr>
              <a:lnSpc>
                <a:spcPct val="80000"/>
              </a:lnSpc>
              <a:buFontTx/>
              <a:buChar char="•"/>
            </a:pPr>
            <a:r>
              <a:rPr lang="en-US" altLang="en-US" sz="2040" dirty="0"/>
              <a:t>Quick way to check heart arteries for narrowing or blockage – non-invasive</a:t>
            </a:r>
          </a:p>
          <a:p>
            <a:pPr>
              <a:lnSpc>
                <a:spcPct val="80000"/>
              </a:lnSpc>
              <a:buFontTx/>
              <a:buChar char="•"/>
            </a:pPr>
            <a:endParaRPr lang="en-US" altLang="en-US" sz="2040" dirty="0"/>
          </a:p>
          <a:p>
            <a:pPr>
              <a:lnSpc>
                <a:spcPct val="80000"/>
              </a:lnSpc>
              <a:buFontTx/>
              <a:buChar char="•"/>
            </a:pPr>
            <a:r>
              <a:rPr lang="en-US" altLang="en-US" sz="2040" dirty="0"/>
              <a:t>Determines whether or not more invasive procedures are needed such as cardiac </a:t>
            </a:r>
            <a:r>
              <a:rPr lang="en-US" altLang="en-US" sz="2040" dirty="0" err="1"/>
              <a:t>catheterisation</a:t>
            </a:r>
            <a:endParaRPr lang="en-US" altLang="en-US" sz="2040" dirty="0"/>
          </a:p>
        </p:txBody>
      </p:sp>
      <p:pic>
        <p:nvPicPr>
          <p:cNvPr id="565255" name="Picture 1031" descr="C:\Documents and Settings\Owner\My Documents\My Pictures\heart.jpg"/>
          <p:cNvPicPr>
            <a:picLocks noGrp="1" noChangeAspect="1" noChangeArrowheads="1"/>
          </p:cNvPicPr>
          <p:nvPr>
            <p:ph type="clipArt"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0490835" y="2529840"/>
            <a:ext cx="3802381" cy="336423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89282257"/>
      </p:ext>
    </p:extLst>
  </p:cSld>
  <p:clrMapOvr>
    <a:masterClrMapping/>
  </p:clrMapOvr>
  <p:transition spd="med">
    <p:checker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966568" y="1463040"/>
            <a:ext cx="10698480" cy="0"/>
          </a:xfrm>
          <a:custGeom>
            <a:avLst/>
            <a:gdLst/>
            <a:ahLst/>
            <a:cxnLst/>
            <a:rect l="l" t="t" r="r" b="b"/>
            <a:pathLst>
              <a:path w="6686550">
                <a:moveTo>
                  <a:pt x="0" y="0"/>
                </a:moveTo>
                <a:lnTo>
                  <a:pt x="6686550" y="0"/>
                </a:lnTo>
              </a:path>
            </a:pathLst>
          </a:custGeom>
          <a:ln w="35052">
            <a:solidFill>
              <a:srgbClr val="AC9F93"/>
            </a:solidFill>
          </a:ln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3" name="object 3"/>
          <p:cNvSpPr txBox="1"/>
          <p:nvPr/>
        </p:nvSpPr>
        <p:spPr>
          <a:xfrm>
            <a:off x="2248203" y="1644293"/>
            <a:ext cx="10363200" cy="4311821"/>
          </a:xfrm>
          <a:prstGeom prst="rect">
            <a:avLst/>
          </a:prstGeom>
        </p:spPr>
        <p:txBody>
          <a:bodyPr vert="horz" wrap="square" lIns="0" tIns="25400" rIns="0" bIns="0" rtlCol="0">
            <a:spAutoFit/>
          </a:bodyPr>
          <a:lstStyle/>
          <a:p>
            <a:pPr marL="423672" indent="-404366">
              <a:spcBef>
                <a:spcPts val="200"/>
              </a:spcBef>
              <a:buFont typeface="Arial"/>
              <a:buChar char="•"/>
              <a:tabLst>
                <a:tab pos="423672" algn="l"/>
                <a:tab pos="424688" algn="l"/>
              </a:tabLst>
            </a:pPr>
            <a:r>
              <a:rPr sz="2240" spc="16" dirty="0">
                <a:solidFill>
                  <a:srgbClr val="0C1524"/>
                </a:solidFill>
                <a:latin typeface="Verdana"/>
                <a:cs typeface="Verdana"/>
              </a:rPr>
              <a:t>ECG </a:t>
            </a:r>
            <a:r>
              <a:rPr sz="2240" spc="8" dirty="0">
                <a:solidFill>
                  <a:srgbClr val="0C1524"/>
                </a:solidFill>
                <a:latin typeface="Verdana"/>
                <a:cs typeface="Verdana"/>
              </a:rPr>
              <a:t>is short for</a:t>
            </a:r>
            <a:r>
              <a:rPr sz="2240" spc="-80" dirty="0">
                <a:solidFill>
                  <a:srgbClr val="0C1524"/>
                </a:solidFill>
                <a:latin typeface="Verdana"/>
                <a:cs typeface="Verdana"/>
              </a:rPr>
              <a:t> </a:t>
            </a:r>
            <a:r>
              <a:rPr sz="2240" spc="8" dirty="0">
                <a:solidFill>
                  <a:srgbClr val="0C1524"/>
                </a:solidFill>
                <a:latin typeface="Verdana"/>
                <a:cs typeface="Verdana"/>
              </a:rPr>
              <a:t>electrocardiogram</a:t>
            </a:r>
            <a:endParaRPr sz="2240" dirty="0">
              <a:latin typeface="Verdana"/>
              <a:cs typeface="Verdana"/>
            </a:endParaRPr>
          </a:p>
          <a:p>
            <a:pPr>
              <a:spcBef>
                <a:spcPts val="72"/>
              </a:spcBef>
              <a:buClr>
                <a:srgbClr val="0C1524"/>
              </a:buClr>
              <a:buFont typeface="Arial"/>
              <a:buChar char="•"/>
            </a:pPr>
            <a:endParaRPr sz="3200" dirty="0">
              <a:latin typeface="Verdana"/>
              <a:cs typeface="Verdana"/>
            </a:endParaRPr>
          </a:p>
          <a:p>
            <a:pPr marL="423672" marR="551688" indent="-404366">
              <a:lnSpc>
                <a:spcPct val="101800"/>
              </a:lnSpc>
              <a:buFont typeface="Arial"/>
              <a:buChar char="•"/>
              <a:tabLst>
                <a:tab pos="423672" algn="l"/>
                <a:tab pos="424688" algn="l"/>
              </a:tabLst>
            </a:pPr>
            <a:r>
              <a:rPr sz="2240" spc="8" dirty="0">
                <a:solidFill>
                  <a:srgbClr val="0C1524"/>
                </a:solidFill>
                <a:latin typeface="Verdana"/>
                <a:cs typeface="Verdana"/>
              </a:rPr>
              <a:t>It is </a:t>
            </a:r>
            <a:r>
              <a:rPr sz="2240" spc="24" dirty="0">
                <a:solidFill>
                  <a:srgbClr val="0C1524"/>
                </a:solidFill>
                <a:latin typeface="Verdana"/>
                <a:cs typeface="Verdana"/>
              </a:rPr>
              <a:t>a </a:t>
            </a:r>
            <a:r>
              <a:rPr sz="2240" spc="8" dirty="0">
                <a:solidFill>
                  <a:srgbClr val="0C1524"/>
                </a:solidFill>
                <a:latin typeface="Verdana"/>
                <a:cs typeface="Verdana"/>
              </a:rPr>
              <a:t>test which measures </a:t>
            </a:r>
            <a:r>
              <a:rPr sz="2240" spc="16" dirty="0">
                <a:solidFill>
                  <a:srgbClr val="0C1524"/>
                </a:solidFill>
                <a:latin typeface="Verdana"/>
                <a:cs typeface="Verdana"/>
              </a:rPr>
              <a:t>the </a:t>
            </a:r>
            <a:r>
              <a:rPr sz="2240" dirty="0">
                <a:solidFill>
                  <a:srgbClr val="0C1524"/>
                </a:solidFill>
                <a:latin typeface="Verdana"/>
                <a:cs typeface="Verdana"/>
              </a:rPr>
              <a:t>electrical activity </a:t>
            </a:r>
            <a:r>
              <a:rPr sz="2240" spc="8" dirty="0">
                <a:solidFill>
                  <a:srgbClr val="0C1524"/>
                </a:solidFill>
                <a:latin typeface="Verdana"/>
                <a:cs typeface="Verdana"/>
              </a:rPr>
              <a:t>of your </a:t>
            </a:r>
            <a:r>
              <a:rPr sz="2240" spc="16" dirty="0">
                <a:solidFill>
                  <a:srgbClr val="0C1524"/>
                </a:solidFill>
                <a:latin typeface="Verdana"/>
                <a:cs typeface="Verdana"/>
              </a:rPr>
              <a:t>heart</a:t>
            </a:r>
            <a:r>
              <a:rPr sz="2240" spc="-312" dirty="0">
                <a:solidFill>
                  <a:srgbClr val="0C1524"/>
                </a:solidFill>
                <a:latin typeface="Verdana"/>
                <a:cs typeface="Verdana"/>
              </a:rPr>
              <a:t> </a:t>
            </a:r>
            <a:r>
              <a:rPr sz="2240" spc="16" dirty="0">
                <a:solidFill>
                  <a:srgbClr val="0C1524"/>
                </a:solidFill>
                <a:latin typeface="Verdana"/>
                <a:cs typeface="Verdana"/>
              </a:rPr>
              <a:t>to  show </a:t>
            </a:r>
            <a:r>
              <a:rPr sz="2240" spc="8" dirty="0">
                <a:solidFill>
                  <a:srgbClr val="0C1524"/>
                </a:solidFill>
                <a:latin typeface="Verdana"/>
                <a:cs typeface="Verdana"/>
              </a:rPr>
              <a:t>whether or </a:t>
            </a:r>
            <a:r>
              <a:rPr sz="2240" spc="16" dirty="0">
                <a:solidFill>
                  <a:srgbClr val="0C1524"/>
                </a:solidFill>
                <a:latin typeface="Verdana"/>
                <a:cs typeface="Verdana"/>
              </a:rPr>
              <a:t>not </a:t>
            </a:r>
            <a:r>
              <a:rPr sz="2240" dirty="0">
                <a:solidFill>
                  <a:srgbClr val="0C1524"/>
                </a:solidFill>
                <a:latin typeface="Verdana"/>
                <a:cs typeface="Verdana"/>
              </a:rPr>
              <a:t>it </a:t>
            </a:r>
            <a:r>
              <a:rPr sz="2240" spc="8" dirty="0">
                <a:solidFill>
                  <a:srgbClr val="0C1524"/>
                </a:solidFill>
                <a:latin typeface="Verdana"/>
                <a:cs typeface="Verdana"/>
              </a:rPr>
              <a:t>is working</a:t>
            </a:r>
            <a:r>
              <a:rPr sz="2240" spc="-128" dirty="0">
                <a:solidFill>
                  <a:srgbClr val="0C1524"/>
                </a:solidFill>
                <a:latin typeface="Verdana"/>
                <a:cs typeface="Verdana"/>
              </a:rPr>
              <a:t> </a:t>
            </a:r>
            <a:r>
              <a:rPr sz="2240" spc="-40" dirty="0">
                <a:solidFill>
                  <a:srgbClr val="0C1524"/>
                </a:solidFill>
                <a:latin typeface="Verdana"/>
                <a:cs typeface="Verdana"/>
              </a:rPr>
              <a:t>normally</a:t>
            </a:r>
            <a:endParaRPr sz="2240" dirty="0">
              <a:latin typeface="Verdana"/>
              <a:cs typeface="Verdana"/>
            </a:endParaRPr>
          </a:p>
          <a:p>
            <a:pPr>
              <a:spcBef>
                <a:spcPts val="24"/>
              </a:spcBef>
              <a:buClr>
                <a:srgbClr val="0C1524"/>
              </a:buClr>
              <a:buFont typeface="Arial"/>
              <a:buChar char="•"/>
            </a:pPr>
            <a:endParaRPr sz="3280" dirty="0">
              <a:latin typeface="Verdana"/>
              <a:cs typeface="Verdana"/>
            </a:endParaRPr>
          </a:p>
          <a:p>
            <a:pPr marL="423672" indent="-404366">
              <a:buFont typeface="Arial"/>
              <a:buChar char="•"/>
              <a:tabLst>
                <a:tab pos="423672" algn="l"/>
                <a:tab pos="424688" algn="l"/>
              </a:tabLst>
            </a:pPr>
            <a:r>
              <a:rPr sz="2240" spc="16" dirty="0">
                <a:solidFill>
                  <a:srgbClr val="0C1524"/>
                </a:solidFill>
                <a:latin typeface="Verdana"/>
                <a:cs typeface="Verdana"/>
              </a:rPr>
              <a:t>Set </a:t>
            </a:r>
            <a:r>
              <a:rPr sz="2240" spc="24" dirty="0">
                <a:solidFill>
                  <a:srgbClr val="0C1524"/>
                </a:solidFill>
                <a:latin typeface="Verdana"/>
                <a:cs typeface="Verdana"/>
              </a:rPr>
              <a:t>up </a:t>
            </a:r>
            <a:r>
              <a:rPr sz="2240" spc="8" dirty="0">
                <a:solidFill>
                  <a:srgbClr val="0C1524"/>
                </a:solidFill>
                <a:latin typeface="Verdana"/>
                <a:cs typeface="Verdana"/>
              </a:rPr>
              <a:t>is</a:t>
            </a:r>
            <a:r>
              <a:rPr lang="en-GB" sz="2240" spc="8" dirty="0">
                <a:solidFill>
                  <a:srgbClr val="0C1524"/>
                </a:solidFill>
                <a:latin typeface="Verdana"/>
                <a:cs typeface="Verdana"/>
              </a:rPr>
              <a:t>:</a:t>
            </a:r>
            <a:r>
              <a:rPr sz="2240" spc="8" dirty="0">
                <a:solidFill>
                  <a:srgbClr val="0C1524"/>
                </a:solidFill>
                <a:latin typeface="Verdana"/>
                <a:cs typeface="Verdana"/>
              </a:rPr>
              <a:t> </a:t>
            </a:r>
            <a:r>
              <a:rPr sz="2240" spc="16" dirty="0">
                <a:solidFill>
                  <a:srgbClr val="0C1524"/>
                </a:solidFill>
                <a:latin typeface="Verdana"/>
                <a:cs typeface="Verdana"/>
              </a:rPr>
              <a:t>ECG </a:t>
            </a:r>
            <a:r>
              <a:rPr sz="2240" spc="8" dirty="0">
                <a:solidFill>
                  <a:srgbClr val="0C1524"/>
                </a:solidFill>
                <a:latin typeface="Verdana"/>
                <a:cs typeface="Verdana"/>
              </a:rPr>
              <a:t>device, </a:t>
            </a:r>
            <a:r>
              <a:rPr sz="2240" spc="16" dirty="0">
                <a:solidFill>
                  <a:srgbClr val="0C1524"/>
                </a:solidFill>
                <a:latin typeface="Verdana"/>
                <a:cs typeface="Verdana"/>
              </a:rPr>
              <a:t>ECG </a:t>
            </a:r>
            <a:r>
              <a:rPr sz="2240" spc="8" dirty="0">
                <a:solidFill>
                  <a:srgbClr val="0C1524"/>
                </a:solidFill>
                <a:latin typeface="Verdana"/>
                <a:cs typeface="Verdana"/>
              </a:rPr>
              <a:t>cable, </a:t>
            </a:r>
            <a:r>
              <a:rPr sz="2240" spc="16" dirty="0">
                <a:solidFill>
                  <a:srgbClr val="0C1524"/>
                </a:solidFill>
                <a:latin typeface="Verdana"/>
                <a:cs typeface="Verdana"/>
              </a:rPr>
              <a:t>ECG </a:t>
            </a:r>
            <a:r>
              <a:rPr sz="2240" spc="8" dirty="0">
                <a:solidFill>
                  <a:srgbClr val="0C1524"/>
                </a:solidFill>
                <a:latin typeface="Verdana"/>
                <a:cs typeface="Verdana"/>
              </a:rPr>
              <a:t>leadwire </a:t>
            </a:r>
            <a:r>
              <a:rPr sz="2240" spc="16" dirty="0">
                <a:solidFill>
                  <a:srgbClr val="0C1524"/>
                </a:solidFill>
                <a:latin typeface="Verdana"/>
                <a:cs typeface="Verdana"/>
              </a:rPr>
              <a:t>and ECG</a:t>
            </a:r>
            <a:r>
              <a:rPr sz="2240" spc="-182" dirty="0">
                <a:solidFill>
                  <a:srgbClr val="0C1524"/>
                </a:solidFill>
                <a:latin typeface="Verdana"/>
                <a:cs typeface="Verdana"/>
              </a:rPr>
              <a:t> </a:t>
            </a:r>
            <a:r>
              <a:rPr sz="2240" dirty="0">
                <a:solidFill>
                  <a:srgbClr val="0C1524"/>
                </a:solidFill>
                <a:latin typeface="Verdana"/>
                <a:cs typeface="Verdana"/>
              </a:rPr>
              <a:t>electrode</a:t>
            </a:r>
            <a:endParaRPr sz="2240" dirty="0">
              <a:latin typeface="Verdana"/>
              <a:cs typeface="Verdana"/>
            </a:endParaRPr>
          </a:p>
          <a:p>
            <a:pPr>
              <a:spcBef>
                <a:spcPts val="72"/>
              </a:spcBef>
              <a:buClr>
                <a:srgbClr val="0C1524"/>
              </a:buClr>
              <a:buFont typeface="Arial"/>
              <a:buChar char="•"/>
            </a:pPr>
            <a:endParaRPr sz="3200" dirty="0">
              <a:latin typeface="Verdana"/>
              <a:cs typeface="Verdana"/>
            </a:endParaRPr>
          </a:p>
          <a:p>
            <a:pPr marL="423672" marR="8128" indent="-404366">
              <a:lnSpc>
                <a:spcPct val="101800"/>
              </a:lnSpc>
              <a:spcBef>
                <a:spcPts val="8"/>
              </a:spcBef>
              <a:buFont typeface="Arial"/>
              <a:buChar char="•"/>
              <a:tabLst>
                <a:tab pos="423672" algn="l"/>
                <a:tab pos="424688" algn="l"/>
              </a:tabLst>
            </a:pPr>
            <a:r>
              <a:rPr sz="2240" spc="24" dirty="0">
                <a:solidFill>
                  <a:srgbClr val="0C1524"/>
                </a:solidFill>
                <a:latin typeface="Verdana"/>
                <a:cs typeface="Verdana"/>
              </a:rPr>
              <a:t>A </a:t>
            </a:r>
            <a:r>
              <a:rPr sz="2240" spc="16" dirty="0">
                <a:solidFill>
                  <a:srgbClr val="0C1524"/>
                </a:solidFill>
                <a:latin typeface="Verdana"/>
                <a:cs typeface="Verdana"/>
              </a:rPr>
              <a:t>number </a:t>
            </a:r>
            <a:r>
              <a:rPr sz="2240" spc="8" dirty="0">
                <a:solidFill>
                  <a:srgbClr val="0C1524"/>
                </a:solidFill>
                <a:latin typeface="Verdana"/>
                <a:cs typeface="Verdana"/>
              </a:rPr>
              <a:t>of electrodes (small sticky patches) </a:t>
            </a:r>
            <a:r>
              <a:rPr sz="2240" spc="16" dirty="0">
                <a:solidFill>
                  <a:srgbClr val="0C1524"/>
                </a:solidFill>
                <a:latin typeface="Verdana"/>
                <a:cs typeface="Verdana"/>
              </a:rPr>
              <a:t>are put on </a:t>
            </a:r>
            <a:r>
              <a:rPr sz="2240" spc="8" dirty="0">
                <a:solidFill>
                  <a:srgbClr val="0C1524"/>
                </a:solidFill>
                <a:latin typeface="Verdana"/>
                <a:cs typeface="Verdana"/>
              </a:rPr>
              <a:t>your</a:t>
            </a:r>
            <a:r>
              <a:rPr sz="2240" spc="-366" dirty="0">
                <a:solidFill>
                  <a:srgbClr val="0C1524"/>
                </a:solidFill>
                <a:latin typeface="Verdana"/>
                <a:cs typeface="Verdana"/>
              </a:rPr>
              <a:t> </a:t>
            </a:r>
            <a:r>
              <a:rPr sz="2240" spc="8" dirty="0">
                <a:solidFill>
                  <a:srgbClr val="0C1524"/>
                </a:solidFill>
                <a:latin typeface="Verdana"/>
                <a:cs typeface="Verdana"/>
              </a:rPr>
              <a:t>arms,  legs </a:t>
            </a:r>
            <a:r>
              <a:rPr sz="2240" spc="16" dirty="0">
                <a:solidFill>
                  <a:srgbClr val="0C1524"/>
                </a:solidFill>
                <a:latin typeface="Verdana"/>
                <a:cs typeface="Verdana"/>
              </a:rPr>
              <a:t>and </a:t>
            </a:r>
            <a:r>
              <a:rPr sz="2240" spc="8" dirty="0">
                <a:solidFill>
                  <a:srgbClr val="0C1524"/>
                </a:solidFill>
                <a:latin typeface="Verdana"/>
                <a:cs typeface="Verdana"/>
              </a:rPr>
              <a:t>chest. </a:t>
            </a:r>
            <a:r>
              <a:rPr sz="2240" spc="16" dirty="0">
                <a:solidFill>
                  <a:srgbClr val="0C1524"/>
                </a:solidFill>
                <a:latin typeface="Verdana"/>
                <a:cs typeface="Verdana"/>
              </a:rPr>
              <a:t>The </a:t>
            </a:r>
            <a:r>
              <a:rPr sz="2240" spc="8" dirty="0">
                <a:solidFill>
                  <a:srgbClr val="0C1524"/>
                </a:solidFill>
                <a:latin typeface="Verdana"/>
                <a:cs typeface="Verdana"/>
              </a:rPr>
              <a:t>electrodes </a:t>
            </a:r>
            <a:r>
              <a:rPr sz="2240" spc="16" dirty="0">
                <a:solidFill>
                  <a:srgbClr val="0C1524"/>
                </a:solidFill>
                <a:latin typeface="Verdana"/>
                <a:cs typeface="Verdana"/>
              </a:rPr>
              <a:t>are </a:t>
            </a:r>
            <a:r>
              <a:rPr sz="2240" spc="8" dirty="0">
                <a:solidFill>
                  <a:srgbClr val="0C1524"/>
                </a:solidFill>
                <a:latin typeface="Verdana"/>
                <a:cs typeface="Verdana"/>
              </a:rPr>
              <a:t>connected </a:t>
            </a:r>
            <a:r>
              <a:rPr sz="2240" spc="16" dirty="0">
                <a:solidFill>
                  <a:srgbClr val="0C1524"/>
                </a:solidFill>
                <a:latin typeface="Verdana"/>
                <a:cs typeface="Verdana"/>
              </a:rPr>
              <a:t>to </a:t>
            </a:r>
            <a:r>
              <a:rPr sz="2240" spc="24" dirty="0">
                <a:solidFill>
                  <a:srgbClr val="0C1524"/>
                </a:solidFill>
                <a:latin typeface="Verdana"/>
                <a:cs typeface="Verdana"/>
              </a:rPr>
              <a:t>a </a:t>
            </a:r>
            <a:r>
              <a:rPr sz="2240" spc="8" dirty="0">
                <a:solidFill>
                  <a:srgbClr val="0C1524"/>
                </a:solidFill>
                <a:latin typeface="Verdana"/>
                <a:cs typeface="Verdana"/>
              </a:rPr>
              <a:t>machine that  records </a:t>
            </a:r>
            <a:r>
              <a:rPr sz="2240" spc="16" dirty="0">
                <a:solidFill>
                  <a:srgbClr val="0C1524"/>
                </a:solidFill>
                <a:latin typeface="Verdana"/>
                <a:cs typeface="Verdana"/>
              </a:rPr>
              <a:t>the </a:t>
            </a:r>
            <a:r>
              <a:rPr sz="2240" dirty="0">
                <a:solidFill>
                  <a:srgbClr val="0C1524"/>
                </a:solidFill>
                <a:latin typeface="Verdana"/>
                <a:cs typeface="Verdana"/>
              </a:rPr>
              <a:t>electrical </a:t>
            </a:r>
            <a:r>
              <a:rPr sz="2240" spc="8" dirty="0">
                <a:solidFill>
                  <a:srgbClr val="0C1524"/>
                </a:solidFill>
                <a:latin typeface="Verdana"/>
                <a:cs typeface="Verdana"/>
              </a:rPr>
              <a:t>signals of each heartbeat </a:t>
            </a:r>
            <a:r>
              <a:rPr sz="2240" spc="16" dirty="0">
                <a:solidFill>
                  <a:srgbClr val="0C1524"/>
                </a:solidFill>
                <a:latin typeface="Verdana"/>
                <a:cs typeface="Verdana"/>
              </a:rPr>
              <a:t>and </a:t>
            </a:r>
            <a:r>
              <a:rPr sz="2240" spc="8" dirty="0">
                <a:solidFill>
                  <a:srgbClr val="0C1524"/>
                </a:solidFill>
                <a:latin typeface="Verdana"/>
                <a:cs typeface="Verdana"/>
              </a:rPr>
              <a:t>records </a:t>
            </a:r>
            <a:r>
              <a:rPr sz="2240" spc="16" dirty="0">
                <a:solidFill>
                  <a:srgbClr val="0C1524"/>
                </a:solidFill>
                <a:latin typeface="Verdana"/>
                <a:cs typeface="Verdana"/>
              </a:rPr>
              <a:t>them on  to </a:t>
            </a:r>
            <a:r>
              <a:rPr sz="2240" spc="24" dirty="0">
                <a:solidFill>
                  <a:srgbClr val="0C1524"/>
                </a:solidFill>
                <a:latin typeface="Verdana"/>
                <a:cs typeface="Verdana"/>
              </a:rPr>
              <a:t>a </a:t>
            </a:r>
            <a:r>
              <a:rPr sz="2240" spc="8" dirty="0">
                <a:solidFill>
                  <a:srgbClr val="0C1524"/>
                </a:solidFill>
                <a:latin typeface="Verdana"/>
                <a:cs typeface="Verdana"/>
              </a:rPr>
              <a:t>paper or</a:t>
            </a:r>
            <a:r>
              <a:rPr sz="2240" spc="-88" dirty="0">
                <a:solidFill>
                  <a:srgbClr val="0C1524"/>
                </a:solidFill>
                <a:latin typeface="Verdana"/>
                <a:cs typeface="Verdana"/>
              </a:rPr>
              <a:t> </a:t>
            </a:r>
            <a:r>
              <a:rPr sz="2240" spc="-56" dirty="0">
                <a:solidFill>
                  <a:srgbClr val="0C1524"/>
                </a:solidFill>
                <a:latin typeface="Verdana"/>
                <a:cs typeface="Verdana"/>
              </a:rPr>
              <a:t>computer</a:t>
            </a:r>
            <a:endParaRPr sz="2240" dirty="0">
              <a:latin typeface="Verdana"/>
              <a:cs typeface="Verdan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008021" y="7657982"/>
            <a:ext cx="9901936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768"/>
              </a:lnSpc>
              <a:tabLst>
                <a:tab pos="4371848" algn="l"/>
                <a:tab pos="6950456" algn="l"/>
              </a:tabLst>
            </a:pPr>
            <a:r>
              <a:rPr sz="1920" spc="35" baseline="-17361" dirty="0">
                <a:solidFill>
                  <a:srgbClr val="0C1524"/>
                </a:solidFill>
                <a:latin typeface="Verdana"/>
                <a:cs typeface="Verdana"/>
              </a:rPr>
              <a:t>85	</a:t>
            </a:r>
            <a:r>
              <a:rPr sz="1440" spc="-11" baseline="-13888" dirty="0">
                <a:solidFill>
                  <a:srgbClr val="F58023"/>
                </a:solidFill>
                <a:latin typeface="Verdana"/>
                <a:cs typeface="Verdana"/>
              </a:rPr>
              <a:t>CONFIDENTIAL </a:t>
            </a:r>
            <a:r>
              <a:rPr sz="1440" baseline="-13888" dirty="0">
                <a:solidFill>
                  <a:srgbClr val="F58023"/>
                </a:solidFill>
                <a:latin typeface="Verdana"/>
                <a:cs typeface="Verdana"/>
              </a:rPr>
              <a:t>– for </a:t>
            </a:r>
            <a:r>
              <a:rPr sz="1440" spc="-24" baseline="-13888" dirty="0">
                <a:solidFill>
                  <a:srgbClr val="F58023"/>
                </a:solidFill>
                <a:latin typeface="Verdana"/>
                <a:cs typeface="Verdana"/>
              </a:rPr>
              <a:t>internal</a:t>
            </a:r>
            <a:r>
              <a:rPr sz="1440" spc="203" baseline="-13888" dirty="0">
                <a:solidFill>
                  <a:srgbClr val="F58023"/>
                </a:solidFill>
                <a:latin typeface="Verdana"/>
                <a:cs typeface="Verdana"/>
              </a:rPr>
              <a:t> </a:t>
            </a:r>
            <a:r>
              <a:rPr sz="1440" spc="-11" baseline="-13888" dirty="0">
                <a:solidFill>
                  <a:srgbClr val="F58023"/>
                </a:solidFill>
                <a:latin typeface="Verdana"/>
                <a:cs typeface="Verdana"/>
              </a:rPr>
              <a:t>use</a:t>
            </a:r>
            <a:r>
              <a:rPr sz="1440" spc="24" baseline="-13888" dirty="0">
                <a:solidFill>
                  <a:srgbClr val="F58023"/>
                </a:solidFill>
                <a:latin typeface="Verdana"/>
                <a:cs typeface="Verdana"/>
              </a:rPr>
              <a:t> </a:t>
            </a:r>
            <a:r>
              <a:rPr sz="1440" spc="-286" baseline="-13888" dirty="0">
                <a:solidFill>
                  <a:srgbClr val="F58023"/>
                </a:solidFill>
                <a:latin typeface="Verdana"/>
                <a:cs typeface="Verdana"/>
              </a:rPr>
              <a:t>o</a:t>
            </a:r>
            <a:r>
              <a:rPr sz="1600" b="1" spc="-192" dirty="0">
                <a:solidFill>
                  <a:srgbClr val="F1F1F1"/>
                </a:solidFill>
              </a:rPr>
              <a:t>CON</a:t>
            </a:r>
            <a:r>
              <a:rPr sz="1440" spc="-286" baseline="-13888" dirty="0">
                <a:solidFill>
                  <a:srgbClr val="F58023"/>
                </a:solidFill>
                <a:latin typeface="Verdana"/>
                <a:cs typeface="Verdana"/>
              </a:rPr>
              <a:t>nly	</a:t>
            </a:r>
            <a:r>
              <a:rPr sz="1600" b="1" dirty="0">
                <a:solidFill>
                  <a:srgbClr val="F1F1F1"/>
                </a:solidFill>
              </a:rPr>
              <a:t>FIDENTIAL – Internal Use</a:t>
            </a:r>
            <a:r>
              <a:rPr sz="1600" b="1" spc="-128" dirty="0">
                <a:solidFill>
                  <a:srgbClr val="F1F1F1"/>
                </a:solidFill>
              </a:rPr>
              <a:t> </a:t>
            </a:r>
            <a:r>
              <a:rPr sz="1600" b="1" dirty="0">
                <a:solidFill>
                  <a:srgbClr val="F1F1F1"/>
                </a:solidFill>
              </a:rPr>
              <a:t>Only</a:t>
            </a:r>
            <a:endParaRPr sz="1600"/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2075078" y="854680"/>
            <a:ext cx="2493264" cy="563231"/>
          </a:xfrm>
          <a:prstGeom prst="rect">
            <a:avLst/>
          </a:prstGeom>
        </p:spPr>
        <p:txBody>
          <a:bodyPr spcFirstLastPara="1" vert="horz" wrap="square" lIns="0" tIns="20320" rIns="0" bIns="0" rtlCol="0" anchor="ctr" anchorCtr="0">
            <a:spAutoFit/>
          </a:bodyPr>
          <a:lstStyle/>
          <a:p>
            <a:pPr marL="20320">
              <a:lnSpc>
                <a:spcPct val="100000"/>
              </a:lnSpc>
              <a:spcBef>
                <a:spcPts val="160"/>
              </a:spcBef>
            </a:pPr>
            <a:r>
              <a:rPr sz="3360" spc="-8" dirty="0"/>
              <a:t>What is</a:t>
            </a:r>
            <a:r>
              <a:rPr sz="3360" spc="-200" dirty="0"/>
              <a:t> </a:t>
            </a:r>
            <a:r>
              <a:rPr sz="3360" spc="-8" dirty="0"/>
              <a:t>ECG</a:t>
            </a:r>
            <a:endParaRPr sz="3360"/>
          </a:p>
        </p:txBody>
      </p:sp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1394" name="Rectangle 1026"/>
          <p:cNvSpPr>
            <a:spLocks noGrp="1" noChangeArrowheads="1"/>
          </p:cNvSpPr>
          <p:nvPr>
            <p:ph type="title"/>
          </p:nvPr>
        </p:nvSpPr>
        <p:spPr>
          <a:xfrm>
            <a:off x="2240281" y="252890"/>
            <a:ext cx="10151746" cy="590931"/>
          </a:xfrm>
        </p:spPr>
        <p:txBody>
          <a:bodyPr/>
          <a:lstStyle/>
          <a:p>
            <a:r>
              <a:rPr lang="en-US" altLang="en-US" sz="3840"/>
              <a:t>Exercise/Stress Testing</a:t>
            </a:r>
          </a:p>
        </p:txBody>
      </p:sp>
      <p:sp>
        <p:nvSpPr>
          <p:cNvPr id="571395" name="Rectangle 1027"/>
          <p:cNvSpPr>
            <a:spLocks noGrp="1" noChangeArrowheads="1"/>
          </p:cNvSpPr>
          <p:nvPr>
            <p:ph type="body" sz="half" idx="2"/>
          </p:nvPr>
        </p:nvSpPr>
        <p:spPr>
          <a:xfrm>
            <a:off x="7315200" y="1920241"/>
            <a:ext cx="7071360" cy="5036821"/>
          </a:xfrm>
        </p:spPr>
        <p:txBody>
          <a:bodyPr>
            <a:normAutofit/>
          </a:bodyPr>
          <a:lstStyle/>
          <a:p>
            <a:r>
              <a:rPr lang="en-US" altLang="en-US" b="1" dirty="0">
                <a:solidFill>
                  <a:srgbClr val="FF0000"/>
                </a:solidFill>
              </a:rPr>
              <a:t>Electrode Placement</a:t>
            </a:r>
          </a:p>
          <a:p>
            <a:r>
              <a:rPr lang="en-US" altLang="en-US" dirty="0"/>
              <a:t>10 electrodes</a:t>
            </a:r>
          </a:p>
          <a:p>
            <a:endParaRPr lang="en-US" altLang="en-US" b="1" dirty="0">
              <a:solidFill>
                <a:srgbClr val="FF0000"/>
              </a:solidFill>
            </a:endParaRPr>
          </a:p>
          <a:p>
            <a:r>
              <a:rPr lang="en-US" altLang="en-US" b="1" dirty="0">
                <a:solidFill>
                  <a:srgbClr val="FF0000"/>
                </a:solidFill>
              </a:rPr>
              <a:t>Skin Preparation</a:t>
            </a:r>
          </a:p>
          <a:p>
            <a:r>
              <a:rPr lang="en-US" altLang="en-US" dirty="0"/>
              <a:t>Skin prep important – during test patient moving, to obtain good results need to be sure to reduce as many barriers to good signal as possible – reduce artifact</a:t>
            </a:r>
          </a:p>
          <a:p>
            <a:pPr>
              <a:buFontTx/>
              <a:buChar char="•"/>
            </a:pPr>
            <a:endParaRPr lang="en-US" altLang="en-US" sz="2640" dirty="0"/>
          </a:p>
        </p:txBody>
      </p:sp>
      <p:pic>
        <p:nvPicPr>
          <p:cNvPr id="571396" name="Picture 1028" descr="C:\Documents and Settings\Owner\My Documents\My Pictures\lead placement 1.jpg"/>
          <p:cNvPicPr>
            <a:picLocks noGrp="1" noChangeAspect="1" noChangeArrowheads="1"/>
          </p:cNvPicPr>
          <p:nvPr>
            <p:ph type="clipArt"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686051" y="2299336"/>
            <a:ext cx="4095750" cy="340233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571397" name="Oval 1029"/>
          <p:cNvSpPr>
            <a:spLocks noChangeArrowheads="1"/>
          </p:cNvSpPr>
          <p:nvPr/>
        </p:nvSpPr>
        <p:spPr bwMode="auto">
          <a:xfrm>
            <a:off x="3545206" y="2562226"/>
            <a:ext cx="548640" cy="640080"/>
          </a:xfrm>
          <a:prstGeom prst="ellipse">
            <a:avLst/>
          </a:prstGeom>
          <a:noFill/>
          <a:ln w="38100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2160"/>
          </a:p>
        </p:txBody>
      </p:sp>
      <p:sp>
        <p:nvSpPr>
          <p:cNvPr id="571398" name="Oval 1030"/>
          <p:cNvSpPr>
            <a:spLocks noChangeArrowheads="1"/>
          </p:cNvSpPr>
          <p:nvPr/>
        </p:nvSpPr>
        <p:spPr bwMode="auto">
          <a:xfrm>
            <a:off x="2691766" y="3126106"/>
            <a:ext cx="548640" cy="640080"/>
          </a:xfrm>
          <a:prstGeom prst="ellipse">
            <a:avLst/>
          </a:prstGeom>
          <a:noFill/>
          <a:ln w="38100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2160"/>
          </a:p>
        </p:txBody>
      </p:sp>
      <p:sp>
        <p:nvSpPr>
          <p:cNvPr id="571399" name="Oval 1031"/>
          <p:cNvSpPr>
            <a:spLocks noChangeArrowheads="1"/>
          </p:cNvSpPr>
          <p:nvPr/>
        </p:nvSpPr>
        <p:spPr bwMode="auto">
          <a:xfrm>
            <a:off x="6139816" y="3097530"/>
            <a:ext cx="548640" cy="640080"/>
          </a:xfrm>
          <a:prstGeom prst="ellipse">
            <a:avLst/>
          </a:prstGeom>
          <a:noFill/>
          <a:ln w="38100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2160"/>
          </a:p>
        </p:txBody>
      </p:sp>
      <p:sp>
        <p:nvSpPr>
          <p:cNvPr id="571400" name="Oval 1032"/>
          <p:cNvSpPr>
            <a:spLocks noChangeArrowheads="1"/>
          </p:cNvSpPr>
          <p:nvPr/>
        </p:nvSpPr>
        <p:spPr bwMode="auto">
          <a:xfrm>
            <a:off x="5314950" y="2503170"/>
            <a:ext cx="548640" cy="640080"/>
          </a:xfrm>
          <a:prstGeom prst="ellipse">
            <a:avLst/>
          </a:prstGeom>
          <a:noFill/>
          <a:ln w="38100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2160"/>
          </a:p>
        </p:txBody>
      </p:sp>
      <p:sp>
        <p:nvSpPr>
          <p:cNvPr id="571401" name="Oval 1033"/>
          <p:cNvSpPr>
            <a:spLocks noChangeArrowheads="1"/>
          </p:cNvSpPr>
          <p:nvPr/>
        </p:nvSpPr>
        <p:spPr bwMode="auto">
          <a:xfrm>
            <a:off x="2922270" y="4768216"/>
            <a:ext cx="548640" cy="640080"/>
          </a:xfrm>
          <a:prstGeom prst="ellipse">
            <a:avLst/>
          </a:prstGeom>
          <a:noFill/>
          <a:ln w="38100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2160"/>
          </a:p>
        </p:txBody>
      </p:sp>
      <p:sp>
        <p:nvSpPr>
          <p:cNvPr id="571402" name="Oval 1034"/>
          <p:cNvSpPr>
            <a:spLocks noChangeArrowheads="1"/>
          </p:cNvSpPr>
          <p:nvPr/>
        </p:nvSpPr>
        <p:spPr bwMode="auto">
          <a:xfrm>
            <a:off x="3512821" y="5202555"/>
            <a:ext cx="548640" cy="640080"/>
          </a:xfrm>
          <a:prstGeom prst="ellipse">
            <a:avLst/>
          </a:prstGeom>
          <a:noFill/>
          <a:ln w="38100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2160"/>
          </a:p>
        </p:txBody>
      </p:sp>
      <p:sp>
        <p:nvSpPr>
          <p:cNvPr id="571403" name="Oval 1035"/>
          <p:cNvSpPr>
            <a:spLocks noChangeArrowheads="1"/>
          </p:cNvSpPr>
          <p:nvPr/>
        </p:nvSpPr>
        <p:spPr bwMode="auto">
          <a:xfrm>
            <a:off x="5730240" y="4844416"/>
            <a:ext cx="548640" cy="640080"/>
          </a:xfrm>
          <a:prstGeom prst="ellipse">
            <a:avLst/>
          </a:prstGeom>
          <a:noFill/>
          <a:ln w="38100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2160"/>
          </a:p>
        </p:txBody>
      </p:sp>
      <p:sp>
        <p:nvSpPr>
          <p:cNvPr id="571404" name="Oval 1036"/>
          <p:cNvSpPr>
            <a:spLocks noChangeArrowheads="1"/>
          </p:cNvSpPr>
          <p:nvPr/>
        </p:nvSpPr>
        <p:spPr bwMode="auto">
          <a:xfrm>
            <a:off x="5194936" y="5246370"/>
            <a:ext cx="548640" cy="640080"/>
          </a:xfrm>
          <a:prstGeom prst="ellipse">
            <a:avLst/>
          </a:prstGeom>
          <a:noFill/>
          <a:ln w="38100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2160"/>
          </a:p>
        </p:txBody>
      </p:sp>
      <p:sp>
        <p:nvSpPr>
          <p:cNvPr id="571405" name="Line 1037"/>
          <p:cNvSpPr>
            <a:spLocks noChangeShapeType="1"/>
          </p:cNvSpPr>
          <p:nvPr/>
        </p:nvSpPr>
        <p:spPr bwMode="auto">
          <a:xfrm flipV="1">
            <a:off x="3148966" y="2979421"/>
            <a:ext cx="457200" cy="274320"/>
          </a:xfrm>
          <a:prstGeom prst="line">
            <a:avLst/>
          </a:prstGeom>
          <a:noFill/>
          <a:ln w="38100">
            <a:solidFill>
              <a:srgbClr val="0099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2160"/>
          </a:p>
        </p:txBody>
      </p:sp>
      <p:sp>
        <p:nvSpPr>
          <p:cNvPr id="571406" name="Line 1038"/>
          <p:cNvSpPr>
            <a:spLocks noChangeShapeType="1"/>
          </p:cNvSpPr>
          <p:nvPr/>
        </p:nvSpPr>
        <p:spPr bwMode="auto">
          <a:xfrm>
            <a:off x="3470910" y="5267326"/>
            <a:ext cx="182880" cy="91440"/>
          </a:xfrm>
          <a:prstGeom prst="line">
            <a:avLst/>
          </a:prstGeom>
          <a:noFill/>
          <a:ln w="38100">
            <a:solidFill>
              <a:srgbClr val="0099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2160"/>
          </a:p>
        </p:txBody>
      </p:sp>
      <p:sp>
        <p:nvSpPr>
          <p:cNvPr id="571407" name="Line 1039"/>
          <p:cNvSpPr>
            <a:spLocks noChangeShapeType="1"/>
          </p:cNvSpPr>
          <p:nvPr/>
        </p:nvSpPr>
        <p:spPr bwMode="auto">
          <a:xfrm flipH="1">
            <a:off x="5577840" y="5133976"/>
            <a:ext cx="274320" cy="182880"/>
          </a:xfrm>
          <a:prstGeom prst="line">
            <a:avLst/>
          </a:prstGeom>
          <a:noFill/>
          <a:ln w="38100">
            <a:solidFill>
              <a:srgbClr val="0099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2160"/>
          </a:p>
        </p:txBody>
      </p:sp>
      <p:sp>
        <p:nvSpPr>
          <p:cNvPr id="571408" name="Line 1040"/>
          <p:cNvSpPr>
            <a:spLocks noChangeShapeType="1"/>
          </p:cNvSpPr>
          <p:nvPr/>
        </p:nvSpPr>
        <p:spPr bwMode="auto">
          <a:xfrm flipH="1" flipV="1">
            <a:off x="5789296" y="3055621"/>
            <a:ext cx="365760" cy="274320"/>
          </a:xfrm>
          <a:prstGeom prst="line">
            <a:avLst/>
          </a:prstGeom>
          <a:noFill/>
          <a:ln w="38100">
            <a:solidFill>
              <a:srgbClr val="0099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2160"/>
          </a:p>
        </p:txBody>
      </p:sp>
    </p:spTree>
    <p:extLst>
      <p:ext uri="{BB962C8B-B14F-4D97-AF65-F5344CB8AC3E}">
        <p14:creationId xmlns:p14="http://schemas.microsoft.com/office/powerpoint/2010/main" val="1329726087"/>
      </p:ext>
    </p:extLst>
  </p:cSld>
  <p:clrMapOvr>
    <a:masterClrMapping/>
  </p:clrMapOvr>
  <p:transition spd="med">
    <p:checker/>
  </p:transition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451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/>
              <a:t>Exercise/Stress Testing</a:t>
            </a:r>
          </a:p>
        </p:txBody>
      </p:sp>
      <p:sp>
        <p:nvSpPr>
          <p:cNvPr id="704515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2339339" y="1645922"/>
            <a:ext cx="6606541" cy="5276850"/>
          </a:xfrm>
        </p:spPr>
        <p:txBody>
          <a:bodyPr>
            <a:normAutofit lnSpcReduction="10000"/>
          </a:bodyPr>
          <a:lstStyle/>
          <a:p>
            <a:r>
              <a:rPr lang="en-US" altLang="en-US" sz="3200" b="1" dirty="0">
                <a:solidFill>
                  <a:schemeClr val="tx1"/>
                </a:solidFill>
                <a:latin typeface="+mn-lt"/>
              </a:rPr>
              <a:t>GE Exercise/Stress Systems</a:t>
            </a:r>
          </a:p>
          <a:p>
            <a:r>
              <a:rPr lang="en-US" altLang="en-US" sz="3200" dirty="0">
                <a:solidFill>
                  <a:schemeClr val="tx1"/>
                </a:solidFill>
                <a:latin typeface="+mn-lt"/>
              </a:rPr>
              <a:t>CASE  </a:t>
            </a:r>
          </a:p>
          <a:p>
            <a:endParaRPr lang="en-US" altLang="en-US" sz="3200" dirty="0">
              <a:solidFill>
                <a:schemeClr val="tx1"/>
              </a:solidFill>
              <a:latin typeface="+mn-lt"/>
            </a:endParaRPr>
          </a:p>
          <a:p>
            <a:r>
              <a:rPr lang="en-US" altLang="en-US" sz="3200" b="1" dirty="0">
                <a:solidFill>
                  <a:schemeClr val="tx1"/>
                </a:solidFill>
                <a:latin typeface="+mn-lt"/>
              </a:rPr>
              <a:t>Older Exercise/Stress Systems</a:t>
            </a:r>
          </a:p>
          <a:p>
            <a:r>
              <a:rPr lang="en-US" altLang="en-US" sz="3200" dirty="0">
                <a:solidFill>
                  <a:schemeClr val="tx1"/>
                </a:solidFill>
                <a:latin typeface="+mn-lt"/>
              </a:rPr>
              <a:t>CASE 8000,CASE 16, CASE 15, CASE 12</a:t>
            </a:r>
          </a:p>
          <a:p>
            <a:r>
              <a:rPr lang="en-US" altLang="en-US" sz="3200" dirty="0" err="1">
                <a:solidFill>
                  <a:schemeClr val="tx1"/>
                </a:solidFill>
                <a:latin typeface="+mn-lt"/>
              </a:rPr>
              <a:t>Centra</a:t>
            </a:r>
            <a:endParaRPr lang="en-US" altLang="en-US" sz="3200" dirty="0">
              <a:solidFill>
                <a:schemeClr val="tx1"/>
              </a:solidFill>
              <a:latin typeface="+mn-lt"/>
            </a:endParaRPr>
          </a:p>
          <a:p>
            <a:r>
              <a:rPr lang="en-US" altLang="en-US" sz="3200" dirty="0">
                <a:solidFill>
                  <a:schemeClr val="tx1"/>
                </a:solidFill>
                <a:latin typeface="+mn-lt"/>
              </a:rPr>
              <a:t>MAX-1</a:t>
            </a:r>
          </a:p>
          <a:p>
            <a:r>
              <a:rPr lang="en-US" altLang="en-US" sz="3200" dirty="0">
                <a:solidFill>
                  <a:schemeClr val="tx1"/>
                </a:solidFill>
                <a:latin typeface="+mn-lt"/>
              </a:rPr>
              <a:t>MAX Personal</a:t>
            </a:r>
          </a:p>
          <a:p>
            <a:endParaRPr lang="en-US" altLang="en-US" sz="2400" dirty="0">
              <a:solidFill>
                <a:schemeClr val="tx1"/>
              </a:solidFill>
            </a:endParaRPr>
          </a:p>
        </p:txBody>
      </p:sp>
      <p:pic>
        <p:nvPicPr>
          <p:cNvPr id="704516" name="Picture 4" descr="C:\Documents and Settings\Owner\My Documents\My Pictures\CASE 8000.jpg"/>
          <p:cNvPicPr>
            <a:picLocks noGrp="1" noChangeAspect="1" noChangeArrowheads="1"/>
          </p:cNvPicPr>
          <p:nvPr>
            <p:ph type="clipArt"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265921" y="2407920"/>
            <a:ext cx="3878581" cy="27432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69723956"/>
      </p:ext>
    </p:extLst>
  </p:cSld>
  <p:clrMapOvr>
    <a:masterClrMapping/>
  </p:clrMapOvr>
  <p:transition spd="med">
    <p:checker/>
  </p:transition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282" name="Rectangle 2"/>
          <p:cNvSpPr>
            <a:spLocks noGrp="1" noChangeArrowheads="1"/>
          </p:cNvSpPr>
          <p:nvPr>
            <p:ph type="title"/>
          </p:nvPr>
        </p:nvSpPr>
        <p:spPr>
          <a:xfrm>
            <a:off x="2240281" y="252890"/>
            <a:ext cx="10151746" cy="590931"/>
          </a:xfrm>
        </p:spPr>
        <p:txBody>
          <a:bodyPr/>
          <a:lstStyle/>
          <a:p>
            <a:r>
              <a:rPr lang="en-US" altLang="en-US" sz="3840"/>
              <a:t>Cables &amp; Leadwires</a:t>
            </a:r>
          </a:p>
        </p:txBody>
      </p:sp>
      <p:sp>
        <p:nvSpPr>
          <p:cNvPr id="481283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2240281" y="2277844"/>
            <a:ext cx="5646421" cy="3730251"/>
          </a:xfrm>
        </p:spPr>
        <p:txBody>
          <a:bodyPr/>
          <a:lstStyle/>
          <a:p>
            <a:pPr marL="0" indent="0">
              <a:buNone/>
            </a:pPr>
            <a:r>
              <a:rPr lang="en-US" altLang="en-US" sz="2400" b="1" dirty="0">
                <a:solidFill>
                  <a:srgbClr val="FF0000"/>
                </a:solidFill>
              </a:rPr>
              <a:t>CASE and MAC 5500ST</a:t>
            </a:r>
          </a:p>
          <a:p>
            <a:pPr marL="941070" lvl="2" indent="-457200"/>
            <a:r>
              <a:rPr lang="en-US" altLang="en-US" sz="1680" b="1" dirty="0"/>
              <a:t>CAM 14  patient cables  </a:t>
            </a:r>
          </a:p>
          <a:p>
            <a:pPr marL="941070" lvl="2" indent="-457200"/>
            <a:r>
              <a:rPr lang="en-US" altLang="en-US" sz="1680" dirty="0"/>
              <a:t>MAC 5500ST 4,6 m cable </a:t>
            </a:r>
          </a:p>
          <a:p>
            <a:pPr marL="941070" lvl="2" indent="-457200"/>
            <a:r>
              <a:rPr lang="en-US" altLang="en-US" sz="1680" dirty="0"/>
              <a:t>CASE 4,6 m cable</a:t>
            </a:r>
          </a:p>
          <a:p>
            <a:pPr marL="941070" lvl="2" indent="-457200"/>
            <a:endParaRPr lang="en-US" altLang="en-US" sz="1680" dirty="0"/>
          </a:p>
          <a:p>
            <a:pPr marL="941070" lvl="2" indent="-457200"/>
            <a:r>
              <a:rPr lang="en-US" altLang="en-US" sz="1680" dirty="0" err="1"/>
              <a:t>MultiLink</a:t>
            </a:r>
            <a:r>
              <a:rPr lang="en-US" altLang="en-US" sz="1680" dirty="0"/>
              <a:t>  type </a:t>
            </a:r>
            <a:r>
              <a:rPr lang="en-US" altLang="en-US" sz="1680" dirty="0" err="1"/>
              <a:t>Leadwire</a:t>
            </a:r>
            <a:r>
              <a:rPr lang="en-US" altLang="en-US" sz="1680" dirty="0"/>
              <a:t> Connectors</a:t>
            </a:r>
          </a:p>
          <a:p>
            <a:pPr marL="1411606" lvl="3" indent="-457200"/>
            <a:r>
              <a:rPr lang="en-US" altLang="en-US" sz="1680" dirty="0"/>
              <a:t>Set of 10 or 14 Lead wires </a:t>
            </a:r>
          </a:p>
          <a:p>
            <a:pPr marL="1411606" lvl="3" indent="-457200"/>
            <a:r>
              <a:rPr lang="en-US" altLang="en-US" sz="1680" b="1" dirty="0"/>
              <a:t>Individual Leads – EOL </a:t>
            </a:r>
          </a:p>
          <a:p>
            <a:pPr marL="1411606" lvl="3" indent="-457200"/>
            <a:endParaRPr lang="en-US" altLang="en-US" sz="1680" dirty="0"/>
          </a:p>
          <a:p>
            <a:pPr marL="941070" lvl="2" indent="-457200"/>
            <a:r>
              <a:rPr lang="en-US" altLang="en-US" sz="1680" dirty="0"/>
              <a:t>Electrode Connectors</a:t>
            </a:r>
          </a:p>
          <a:p>
            <a:pPr marL="1411606" lvl="3" indent="-457200"/>
            <a:r>
              <a:rPr lang="en-US" altLang="en-US" sz="1680" dirty="0"/>
              <a:t>Connectors set of 10 or 14 </a:t>
            </a:r>
          </a:p>
          <a:p>
            <a:pPr marL="1411606" lvl="3" indent="-457200"/>
            <a:r>
              <a:rPr lang="en-US" altLang="en-US" sz="1680" dirty="0"/>
              <a:t>Available in Banana, Grabber, Alligator clip </a:t>
            </a:r>
          </a:p>
          <a:p>
            <a:pPr marL="941070" lvl="2" indent="-457200"/>
            <a:endParaRPr lang="en-US" altLang="en-US" sz="1680" dirty="0"/>
          </a:p>
        </p:txBody>
      </p:sp>
      <p:pic>
        <p:nvPicPr>
          <p:cNvPr id="481285" name="Picture 5" descr="C:\Documents and Settings\Owner\My Documents\My Pictures\cam 14 connectors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7249" y="5154483"/>
            <a:ext cx="3126106" cy="19011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1287" name="Picture 7" descr="C:\Documents and Settings\Owner\My Documents\My Pictures\cam14 cable 2.jpg"/>
          <p:cNvPicPr>
            <a:picLocks noGrp="1" noChangeAspect="1" noChangeArrowheads="1"/>
          </p:cNvPicPr>
          <p:nvPr>
            <p:ph type="clipArt"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469630" y="548355"/>
            <a:ext cx="3133725" cy="230886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481288" name="Picture 8" descr="C:\Documents and Settings\Owner\My Documents\My Pictures\cam 14 ldwr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2011" y="3167514"/>
            <a:ext cx="3141344" cy="1689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06559977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9586" name="Rectangle 2"/>
          <p:cNvSpPr>
            <a:spLocks noGrp="1" noChangeArrowheads="1"/>
          </p:cNvSpPr>
          <p:nvPr>
            <p:ph type="title"/>
          </p:nvPr>
        </p:nvSpPr>
        <p:spPr>
          <a:xfrm>
            <a:off x="2240281" y="252890"/>
            <a:ext cx="10151746" cy="590931"/>
          </a:xfrm>
        </p:spPr>
        <p:txBody>
          <a:bodyPr/>
          <a:lstStyle/>
          <a:p>
            <a:r>
              <a:rPr lang="en-US" altLang="en-US" sz="3840"/>
              <a:t>Holter Monitoring</a:t>
            </a:r>
          </a:p>
        </p:txBody>
      </p:sp>
      <p:sp>
        <p:nvSpPr>
          <p:cNvPr id="579587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121920" y="843821"/>
            <a:ext cx="14142720" cy="7385779"/>
          </a:xfrm>
        </p:spPr>
        <p:txBody>
          <a:bodyPr>
            <a:normAutofit fontScale="55000" lnSpcReduction="20000"/>
          </a:bodyPr>
          <a:lstStyle/>
          <a:p>
            <a:pPr marL="114300" indent="0">
              <a:lnSpc>
                <a:spcPct val="80000"/>
              </a:lnSpc>
              <a:buNone/>
            </a:pPr>
            <a:r>
              <a:rPr lang="en-US" altLang="en-US" sz="3600" b="1" dirty="0">
                <a:solidFill>
                  <a:srgbClr val="FF0000"/>
                </a:solidFill>
              </a:rPr>
              <a:t>When is it used?</a:t>
            </a:r>
          </a:p>
          <a:p>
            <a:pPr>
              <a:lnSpc>
                <a:spcPct val="80000"/>
              </a:lnSpc>
            </a:pPr>
            <a:endParaRPr lang="en-US" altLang="en-US" sz="3600" b="1" dirty="0">
              <a:solidFill>
                <a:schemeClr val="hlink"/>
              </a:solidFill>
            </a:endParaRPr>
          </a:p>
          <a:p>
            <a:pPr>
              <a:lnSpc>
                <a:spcPct val="80000"/>
              </a:lnSpc>
              <a:buFontTx/>
              <a:buChar char="•"/>
            </a:pPr>
            <a:r>
              <a:rPr lang="en-US" altLang="en-US" sz="2800" dirty="0"/>
              <a:t>Patient with symptoms related to cardiac problems. Patient after cardiac surgery</a:t>
            </a:r>
          </a:p>
          <a:p>
            <a:pPr>
              <a:lnSpc>
                <a:spcPct val="80000"/>
              </a:lnSpc>
              <a:buFontTx/>
              <a:buChar char="•"/>
            </a:pPr>
            <a:endParaRPr lang="en-US" altLang="en-US" sz="2800" dirty="0">
              <a:solidFill>
                <a:schemeClr val="folHlink"/>
              </a:solidFill>
            </a:endParaRPr>
          </a:p>
          <a:p>
            <a:pPr>
              <a:lnSpc>
                <a:spcPct val="80000"/>
              </a:lnSpc>
              <a:buFontTx/>
              <a:buChar char="•"/>
            </a:pPr>
            <a:endParaRPr lang="en-US" altLang="en-US" sz="2800" dirty="0">
              <a:solidFill>
                <a:schemeClr val="folHlink"/>
              </a:solidFill>
            </a:endParaRPr>
          </a:p>
          <a:p>
            <a:pPr marL="114300" indent="0">
              <a:lnSpc>
                <a:spcPct val="80000"/>
              </a:lnSpc>
              <a:buNone/>
            </a:pPr>
            <a:r>
              <a:rPr lang="en-US" altLang="en-US" sz="3600" b="1" dirty="0">
                <a:solidFill>
                  <a:srgbClr val="FF0000"/>
                </a:solidFill>
              </a:rPr>
              <a:t>Patient Preparation and Monitoring</a:t>
            </a:r>
          </a:p>
          <a:p>
            <a:pPr>
              <a:lnSpc>
                <a:spcPct val="80000"/>
              </a:lnSpc>
            </a:pPr>
            <a:endParaRPr lang="en-US" altLang="en-US" sz="3600" b="1" dirty="0">
              <a:solidFill>
                <a:schemeClr val="hlink"/>
              </a:solidFill>
            </a:endParaRPr>
          </a:p>
          <a:p>
            <a:pPr>
              <a:lnSpc>
                <a:spcPct val="80000"/>
              </a:lnSpc>
              <a:buFontTx/>
              <a:buChar char="•"/>
            </a:pPr>
            <a:r>
              <a:rPr lang="en-US" altLang="en-US" sz="2800" dirty="0"/>
              <a:t>A technician will prepare the patient for the </a:t>
            </a:r>
            <a:r>
              <a:rPr lang="en-US" altLang="en-US" sz="2800" dirty="0" err="1"/>
              <a:t>Holter</a:t>
            </a:r>
            <a:r>
              <a:rPr lang="en-US" altLang="en-US" sz="2800" dirty="0"/>
              <a:t> recording in the hospital area</a:t>
            </a:r>
          </a:p>
          <a:p>
            <a:pPr>
              <a:lnSpc>
                <a:spcPct val="80000"/>
              </a:lnSpc>
              <a:buFontTx/>
              <a:buChar char="•"/>
            </a:pPr>
            <a:endParaRPr lang="en-US" altLang="en-US" sz="2800" dirty="0"/>
          </a:p>
          <a:p>
            <a:pPr>
              <a:lnSpc>
                <a:spcPct val="80000"/>
              </a:lnSpc>
              <a:buFontTx/>
              <a:buChar char="•"/>
            </a:pPr>
            <a:r>
              <a:rPr lang="en-US" altLang="en-US" sz="2800" dirty="0"/>
              <a:t>5, 7 or 10 electrodes are applied</a:t>
            </a:r>
          </a:p>
          <a:p>
            <a:pPr>
              <a:lnSpc>
                <a:spcPct val="80000"/>
              </a:lnSpc>
              <a:buFontTx/>
              <a:buChar char="•"/>
            </a:pPr>
            <a:endParaRPr lang="en-US" altLang="en-US" sz="2800" dirty="0"/>
          </a:p>
          <a:p>
            <a:pPr>
              <a:lnSpc>
                <a:spcPct val="80000"/>
              </a:lnSpc>
              <a:buFontTx/>
              <a:buChar char="•"/>
            </a:pPr>
            <a:r>
              <a:rPr lang="en-US" altLang="en-US" sz="2800" dirty="0"/>
              <a:t>Patient returns home and continues normal activities while maintaining a patient diary</a:t>
            </a:r>
          </a:p>
          <a:p>
            <a:pPr>
              <a:lnSpc>
                <a:spcPct val="80000"/>
              </a:lnSpc>
              <a:buFontTx/>
              <a:buChar char="•"/>
            </a:pPr>
            <a:endParaRPr lang="en-US" altLang="en-US" sz="2800" dirty="0"/>
          </a:p>
          <a:p>
            <a:pPr>
              <a:lnSpc>
                <a:spcPct val="80000"/>
              </a:lnSpc>
              <a:buFontTx/>
              <a:buChar char="•"/>
            </a:pPr>
            <a:r>
              <a:rPr lang="en-US" altLang="en-US" sz="2800" dirty="0"/>
              <a:t>Test lasts 24 or 48 hours</a:t>
            </a:r>
          </a:p>
          <a:p>
            <a:pPr>
              <a:lnSpc>
                <a:spcPct val="80000"/>
              </a:lnSpc>
              <a:buFontTx/>
              <a:buChar char="•"/>
            </a:pPr>
            <a:endParaRPr lang="en-US" altLang="en-US" sz="2800" dirty="0"/>
          </a:p>
          <a:p>
            <a:pPr>
              <a:lnSpc>
                <a:spcPct val="80000"/>
              </a:lnSpc>
              <a:buFontTx/>
              <a:buChar char="•"/>
            </a:pPr>
            <a:r>
              <a:rPr lang="en-US" altLang="en-US" sz="2800" dirty="0"/>
              <a:t>Patient returns to hospital to have electrodes and recorder removed</a:t>
            </a:r>
          </a:p>
          <a:p>
            <a:pPr>
              <a:lnSpc>
                <a:spcPct val="80000"/>
              </a:lnSpc>
              <a:buFontTx/>
              <a:buChar char="•"/>
            </a:pPr>
            <a:endParaRPr lang="en-US" altLang="en-US" sz="2800" dirty="0"/>
          </a:p>
          <a:p>
            <a:pPr>
              <a:lnSpc>
                <a:spcPct val="80000"/>
              </a:lnSpc>
              <a:buFontTx/>
              <a:buChar char="•"/>
            </a:pPr>
            <a:r>
              <a:rPr lang="en-US" altLang="en-US" sz="2800" dirty="0"/>
              <a:t>Technician downloads data into scanning device for interpretation</a:t>
            </a:r>
          </a:p>
          <a:p>
            <a:pPr>
              <a:lnSpc>
                <a:spcPct val="80000"/>
              </a:lnSpc>
              <a:buFontTx/>
              <a:buChar char="•"/>
            </a:pPr>
            <a:endParaRPr lang="en-US" altLang="en-US" sz="2800" dirty="0"/>
          </a:p>
          <a:p>
            <a:pPr>
              <a:lnSpc>
                <a:spcPct val="80000"/>
              </a:lnSpc>
              <a:buFontTx/>
              <a:buChar char="•"/>
            </a:pPr>
            <a:r>
              <a:rPr lang="en-US" altLang="en-US" sz="2800" dirty="0"/>
              <a:t>Cardiologist </a:t>
            </a:r>
            <a:r>
              <a:rPr lang="en-US" altLang="en-US" sz="2800" dirty="0" err="1"/>
              <a:t>overreads</a:t>
            </a:r>
            <a:r>
              <a:rPr lang="en-US" altLang="en-US" sz="2800" dirty="0"/>
              <a:t> data and highlight significant areas</a:t>
            </a:r>
          </a:p>
          <a:p>
            <a:pPr>
              <a:lnSpc>
                <a:spcPct val="80000"/>
              </a:lnSpc>
            </a:pPr>
            <a:endParaRPr lang="en-US" altLang="en-US" sz="2040" dirty="0"/>
          </a:p>
        </p:txBody>
      </p:sp>
      <p:pic>
        <p:nvPicPr>
          <p:cNvPr id="579588" name="Picture 4" descr="C:\Documents and Settings\Owner\My Documents\My Pictures\Holter monitoring patient.jpg"/>
          <p:cNvPicPr>
            <a:picLocks noGrp="1" noChangeAspect="1" noChangeArrowheads="1"/>
          </p:cNvPicPr>
          <p:nvPr>
            <p:ph type="clipArt"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590473" y="2930842"/>
            <a:ext cx="2935606" cy="355092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579590" name="Text Box 6"/>
          <p:cNvSpPr txBox="1">
            <a:spLocks noChangeArrowheads="1"/>
          </p:cNvSpPr>
          <p:nvPr/>
        </p:nvSpPr>
        <p:spPr bwMode="auto">
          <a:xfrm>
            <a:off x="9058276" y="5093970"/>
            <a:ext cx="3442334" cy="424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en-US" altLang="en-US" sz="2160">
              <a:latin typeface="Arial" charset="0"/>
            </a:endParaRPr>
          </a:p>
        </p:txBody>
      </p:sp>
      <p:sp>
        <p:nvSpPr>
          <p:cNvPr id="579591" name="Text Box 7"/>
          <p:cNvSpPr txBox="1">
            <a:spLocks noChangeArrowheads="1"/>
          </p:cNvSpPr>
          <p:nvPr/>
        </p:nvSpPr>
        <p:spPr bwMode="auto">
          <a:xfrm>
            <a:off x="10653715" y="1748124"/>
            <a:ext cx="3476624" cy="31762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en-US" sz="2400" dirty="0">
                <a:latin typeface="Arial" charset="0"/>
              </a:rPr>
              <a:t>History</a:t>
            </a:r>
          </a:p>
          <a:p>
            <a:pPr>
              <a:spcBef>
                <a:spcPct val="50000"/>
              </a:spcBef>
              <a:buFontTx/>
              <a:buChar char="•"/>
            </a:pPr>
            <a:r>
              <a:rPr lang="en-US" altLang="en-US" sz="1920" dirty="0">
                <a:latin typeface="Arial" charset="0"/>
              </a:rPr>
              <a:t>Discovered by Dr. Norman </a:t>
            </a:r>
            <a:r>
              <a:rPr lang="en-US" altLang="en-US" sz="1920" dirty="0" err="1">
                <a:latin typeface="Arial" charset="0"/>
              </a:rPr>
              <a:t>Holter</a:t>
            </a:r>
            <a:r>
              <a:rPr lang="en-US" altLang="en-US" sz="1920" dirty="0">
                <a:latin typeface="Arial" charset="0"/>
              </a:rPr>
              <a:t> – 1940’s</a:t>
            </a:r>
          </a:p>
          <a:p>
            <a:pPr>
              <a:spcBef>
                <a:spcPct val="50000"/>
              </a:spcBef>
              <a:buFontTx/>
              <a:buChar char="•"/>
            </a:pPr>
            <a:r>
              <a:rPr lang="en-US" altLang="en-US" sz="1920" dirty="0">
                <a:latin typeface="Arial" charset="0"/>
              </a:rPr>
              <a:t>Developed and marketed by Dr. </a:t>
            </a:r>
            <a:r>
              <a:rPr lang="en-US" altLang="en-US" sz="1920" dirty="0" err="1">
                <a:latin typeface="Arial" charset="0"/>
              </a:rPr>
              <a:t>Holter</a:t>
            </a:r>
            <a:r>
              <a:rPr lang="en-US" altLang="en-US" sz="1920" dirty="0">
                <a:latin typeface="Arial" charset="0"/>
              </a:rPr>
              <a:t> and Mr. Bruce Delmar – 1960</a:t>
            </a:r>
          </a:p>
          <a:p>
            <a:pPr>
              <a:spcBef>
                <a:spcPct val="50000"/>
              </a:spcBef>
              <a:buFontTx/>
              <a:buChar char="•"/>
            </a:pPr>
            <a:endParaRPr lang="en-US" altLang="en-US" sz="1920" dirty="0">
              <a:latin typeface="Arial" charset="0"/>
            </a:endParaRPr>
          </a:p>
          <a:p>
            <a:pPr>
              <a:spcBef>
                <a:spcPct val="50000"/>
              </a:spcBef>
            </a:pPr>
            <a:endParaRPr lang="en-US" altLang="en-US" sz="2160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8236216"/>
      </p:ext>
    </p:extLst>
  </p:cSld>
  <p:clrMapOvr>
    <a:masterClrMapping/>
  </p:clrMapOvr>
  <p:transition spd="med">
    <p:checker/>
  </p:transition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82" name="Rectangle 2"/>
          <p:cNvSpPr>
            <a:spLocks noGrp="1" noChangeArrowheads="1"/>
          </p:cNvSpPr>
          <p:nvPr>
            <p:ph type="title"/>
          </p:nvPr>
        </p:nvSpPr>
        <p:spPr>
          <a:xfrm>
            <a:off x="2240281" y="252890"/>
            <a:ext cx="10151746" cy="590931"/>
          </a:xfrm>
        </p:spPr>
        <p:txBody>
          <a:bodyPr/>
          <a:lstStyle/>
          <a:p>
            <a:r>
              <a:rPr lang="en-US" altLang="en-US" sz="3840" dirty="0"/>
              <a:t>Holter ECG - EOL</a:t>
            </a:r>
          </a:p>
        </p:txBody>
      </p:sp>
      <p:sp>
        <p:nvSpPr>
          <p:cNvPr id="583683" name="Rectangle 3"/>
          <p:cNvSpPr>
            <a:spLocks noGrp="1" noChangeArrowheads="1"/>
          </p:cNvSpPr>
          <p:nvPr>
            <p:ph type="body" sz="half" idx="2"/>
          </p:nvPr>
        </p:nvSpPr>
        <p:spPr>
          <a:xfrm>
            <a:off x="6502401" y="548355"/>
            <a:ext cx="7899399" cy="7300245"/>
          </a:xfrm>
        </p:spPr>
        <p:txBody>
          <a:bodyPr/>
          <a:lstStyle/>
          <a:p>
            <a:pPr marL="114300" indent="0">
              <a:lnSpc>
                <a:spcPct val="80000"/>
              </a:lnSpc>
              <a:buNone/>
            </a:pPr>
            <a:r>
              <a:rPr lang="en-US" altLang="en-US" b="1" dirty="0">
                <a:solidFill>
                  <a:srgbClr val="FF0000"/>
                </a:solidFill>
              </a:rPr>
              <a:t>5-Lead Monitoring</a:t>
            </a:r>
            <a:endParaRPr lang="en-US" altLang="en-US" b="1" dirty="0">
              <a:solidFill>
                <a:schemeClr val="hlink"/>
              </a:solidFill>
            </a:endParaRPr>
          </a:p>
          <a:p>
            <a:pPr>
              <a:lnSpc>
                <a:spcPct val="80000"/>
              </a:lnSpc>
              <a:buFontTx/>
              <a:buChar char="•"/>
            </a:pPr>
            <a:r>
              <a:rPr lang="en-US" altLang="en-US" sz="2040" dirty="0"/>
              <a:t>5 electrodes</a:t>
            </a:r>
          </a:p>
          <a:p>
            <a:pPr>
              <a:lnSpc>
                <a:spcPct val="80000"/>
              </a:lnSpc>
              <a:buFontTx/>
              <a:buChar char="•"/>
            </a:pPr>
            <a:endParaRPr lang="en-US" altLang="en-US" sz="2040" dirty="0"/>
          </a:p>
          <a:p>
            <a:pPr marL="114300" indent="0">
              <a:lnSpc>
                <a:spcPct val="80000"/>
              </a:lnSpc>
              <a:buNone/>
            </a:pPr>
            <a:r>
              <a:rPr lang="en-US" altLang="en-US" b="1" dirty="0">
                <a:solidFill>
                  <a:srgbClr val="FF0000"/>
                </a:solidFill>
              </a:rPr>
              <a:t>7-Lead Monitoring</a:t>
            </a:r>
            <a:endParaRPr lang="en-US" altLang="en-US" b="1" dirty="0">
              <a:solidFill>
                <a:schemeClr val="hlink"/>
              </a:solidFill>
            </a:endParaRPr>
          </a:p>
          <a:p>
            <a:pPr>
              <a:lnSpc>
                <a:spcPct val="80000"/>
              </a:lnSpc>
              <a:buFontTx/>
              <a:buChar char="•"/>
            </a:pPr>
            <a:r>
              <a:rPr lang="en-US" altLang="en-US" dirty="0"/>
              <a:t>7 electrodes</a:t>
            </a:r>
          </a:p>
          <a:p>
            <a:pPr marL="114300" indent="0">
              <a:lnSpc>
                <a:spcPct val="80000"/>
              </a:lnSpc>
              <a:buNone/>
            </a:pPr>
            <a:endParaRPr lang="en-US" altLang="en-US" dirty="0"/>
          </a:p>
          <a:p>
            <a:pPr marL="114300" indent="0">
              <a:lnSpc>
                <a:spcPct val="80000"/>
              </a:lnSpc>
              <a:buNone/>
            </a:pPr>
            <a:r>
              <a:rPr lang="en-US" altLang="en-US" b="1" dirty="0">
                <a:solidFill>
                  <a:srgbClr val="FF0000"/>
                </a:solidFill>
              </a:rPr>
              <a:t>10-Lead Monitoring</a:t>
            </a:r>
            <a:endParaRPr lang="en-US" altLang="en-US" b="1" dirty="0">
              <a:solidFill>
                <a:schemeClr val="hlink"/>
              </a:solidFill>
            </a:endParaRPr>
          </a:p>
          <a:p>
            <a:pPr>
              <a:lnSpc>
                <a:spcPct val="80000"/>
              </a:lnSpc>
              <a:buFontTx/>
              <a:buChar char="•"/>
            </a:pPr>
            <a:r>
              <a:rPr lang="en-US" altLang="en-US" sz="2040" dirty="0"/>
              <a:t>10 electrodes</a:t>
            </a:r>
          </a:p>
          <a:p>
            <a:pPr>
              <a:lnSpc>
                <a:spcPct val="80000"/>
              </a:lnSpc>
              <a:buFontTx/>
              <a:buChar char="•"/>
            </a:pPr>
            <a:endParaRPr lang="en-US" altLang="en-US" sz="2040" dirty="0">
              <a:solidFill>
                <a:srgbClr val="FF0000"/>
              </a:solidFill>
            </a:endParaRPr>
          </a:p>
          <a:p>
            <a:pPr>
              <a:lnSpc>
                <a:spcPct val="80000"/>
              </a:lnSpc>
            </a:pPr>
            <a:r>
              <a:rPr lang="en-US" altLang="en-US" b="1" dirty="0" err="1">
                <a:solidFill>
                  <a:srgbClr val="FF0000"/>
                </a:solidFill>
              </a:rPr>
              <a:t>Holter</a:t>
            </a:r>
            <a:r>
              <a:rPr lang="en-US" altLang="en-US" b="1" dirty="0">
                <a:solidFill>
                  <a:srgbClr val="FF0000"/>
                </a:solidFill>
              </a:rPr>
              <a:t> Supplies</a:t>
            </a:r>
          </a:p>
          <a:p>
            <a:pPr>
              <a:lnSpc>
                <a:spcPct val="80000"/>
              </a:lnSpc>
              <a:buFontTx/>
              <a:buChar char="•"/>
            </a:pPr>
            <a:r>
              <a:rPr lang="en-US" altLang="en-US" sz="2040" dirty="0"/>
              <a:t>Electrodes/</a:t>
            </a:r>
            <a:r>
              <a:rPr lang="en-US" altLang="en-US" sz="2040" dirty="0" err="1"/>
              <a:t>Leadwires</a:t>
            </a:r>
            <a:r>
              <a:rPr lang="en-US" altLang="en-US" sz="2040" dirty="0"/>
              <a:t>/Cables</a:t>
            </a:r>
          </a:p>
          <a:p>
            <a:pPr>
              <a:lnSpc>
                <a:spcPct val="80000"/>
              </a:lnSpc>
              <a:buFontTx/>
              <a:buChar char="•"/>
            </a:pPr>
            <a:r>
              <a:rPr lang="en-US" altLang="en-US" sz="2040" dirty="0" err="1"/>
              <a:t>Holter</a:t>
            </a:r>
            <a:r>
              <a:rPr lang="en-US" altLang="en-US" sz="2040" dirty="0"/>
              <a:t> Kits</a:t>
            </a:r>
          </a:p>
          <a:p>
            <a:pPr>
              <a:lnSpc>
                <a:spcPct val="80000"/>
              </a:lnSpc>
              <a:buFontTx/>
              <a:buChar char="•"/>
            </a:pPr>
            <a:r>
              <a:rPr lang="en-US" altLang="en-US" sz="2040" dirty="0"/>
              <a:t>Batteries</a:t>
            </a:r>
          </a:p>
          <a:p>
            <a:pPr>
              <a:lnSpc>
                <a:spcPct val="80000"/>
              </a:lnSpc>
              <a:buFontTx/>
              <a:buChar char="•"/>
            </a:pPr>
            <a:r>
              <a:rPr lang="en-US" altLang="en-US" sz="2040" dirty="0"/>
              <a:t>Cassettes</a:t>
            </a:r>
          </a:p>
          <a:p>
            <a:pPr>
              <a:lnSpc>
                <a:spcPct val="80000"/>
              </a:lnSpc>
              <a:buFontTx/>
              <a:buChar char="•"/>
            </a:pPr>
            <a:r>
              <a:rPr lang="en-US" altLang="en-US" sz="2040" dirty="0"/>
              <a:t>Pouches – Straps - Belts</a:t>
            </a:r>
          </a:p>
          <a:p>
            <a:pPr>
              <a:lnSpc>
                <a:spcPct val="80000"/>
              </a:lnSpc>
              <a:buFontTx/>
              <a:buChar char="•"/>
            </a:pPr>
            <a:r>
              <a:rPr lang="en-US" altLang="en-US" sz="2040" dirty="0"/>
              <a:t>Skin Prep Products</a:t>
            </a:r>
          </a:p>
          <a:p>
            <a:pPr>
              <a:lnSpc>
                <a:spcPct val="80000"/>
              </a:lnSpc>
              <a:buFontTx/>
              <a:buChar char="•"/>
            </a:pPr>
            <a:endParaRPr lang="en-US" altLang="en-US" sz="2040" dirty="0"/>
          </a:p>
          <a:p>
            <a:pPr>
              <a:lnSpc>
                <a:spcPct val="80000"/>
              </a:lnSpc>
            </a:pPr>
            <a:endParaRPr lang="en-US" altLang="en-US" sz="2040" dirty="0">
              <a:solidFill>
                <a:schemeClr val="accent2"/>
              </a:solidFill>
            </a:endParaRPr>
          </a:p>
        </p:txBody>
      </p:sp>
      <p:pic>
        <p:nvPicPr>
          <p:cNvPr id="583684" name="Picture 4" descr="C:\Documents and Settings\Owner\My Documents\My Pictures\holter electrode placement.jpg"/>
          <p:cNvPicPr>
            <a:picLocks noGrp="1" noChangeAspect="1" noChangeArrowheads="1"/>
          </p:cNvPicPr>
          <p:nvPr>
            <p:ph type="clipArt"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286001" y="2268856"/>
            <a:ext cx="3562350" cy="368998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25534795"/>
      </p:ext>
    </p:extLst>
  </p:cSld>
  <p:clrMapOvr>
    <a:masterClrMapping/>
  </p:clrMapOvr>
  <p:transition spd="med">
    <p:checker/>
  </p:transition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4706" name="Rectangle 2"/>
          <p:cNvSpPr>
            <a:spLocks noGrp="1" noChangeArrowheads="1"/>
          </p:cNvSpPr>
          <p:nvPr>
            <p:ph type="title"/>
          </p:nvPr>
        </p:nvSpPr>
        <p:spPr>
          <a:xfrm>
            <a:off x="2240281" y="252890"/>
            <a:ext cx="10151746" cy="590931"/>
          </a:xfrm>
        </p:spPr>
        <p:txBody>
          <a:bodyPr/>
          <a:lstStyle/>
          <a:p>
            <a:r>
              <a:rPr lang="en-US" altLang="en-US" sz="3840" dirty="0"/>
              <a:t>Holter Monitoring - EOL</a:t>
            </a:r>
          </a:p>
        </p:txBody>
      </p:sp>
      <p:sp>
        <p:nvSpPr>
          <p:cNvPr id="584707" name="Rectangle 3"/>
          <p:cNvSpPr>
            <a:spLocks noGrp="1" noChangeArrowheads="1"/>
          </p:cNvSpPr>
          <p:nvPr>
            <p:ph type="body" sz="half" idx="2"/>
          </p:nvPr>
        </p:nvSpPr>
        <p:spPr>
          <a:xfrm>
            <a:off x="7315200" y="1036322"/>
            <a:ext cx="4960621" cy="6069330"/>
          </a:xfrm>
        </p:spPr>
        <p:txBody>
          <a:bodyPr>
            <a:normAutofit fontScale="92500" lnSpcReduction="20000"/>
          </a:bodyPr>
          <a:lstStyle/>
          <a:p>
            <a:r>
              <a:rPr lang="en-US" altLang="en-US" sz="2640" b="1" dirty="0">
                <a:solidFill>
                  <a:srgbClr val="FF0000"/>
                </a:solidFill>
              </a:rPr>
              <a:t>GE </a:t>
            </a:r>
            <a:r>
              <a:rPr lang="en-US" altLang="en-US" sz="2640" b="1" dirty="0" err="1">
                <a:solidFill>
                  <a:srgbClr val="FF0000"/>
                </a:solidFill>
              </a:rPr>
              <a:t>Holter</a:t>
            </a:r>
            <a:r>
              <a:rPr lang="en-US" altLang="en-US" sz="2640" b="1" dirty="0">
                <a:solidFill>
                  <a:srgbClr val="FF0000"/>
                </a:solidFill>
              </a:rPr>
              <a:t> Monitoring Recorders</a:t>
            </a:r>
          </a:p>
          <a:p>
            <a:r>
              <a:rPr lang="en-US" altLang="en-US" dirty="0"/>
              <a:t>8500 </a:t>
            </a:r>
            <a:r>
              <a:rPr lang="en-US" altLang="en-US" dirty="0" err="1"/>
              <a:t>Holter</a:t>
            </a:r>
            <a:r>
              <a:rPr lang="en-US" altLang="en-US" dirty="0"/>
              <a:t> Recorder</a:t>
            </a:r>
          </a:p>
          <a:p>
            <a:pPr lvl="1"/>
            <a:r>
              <a:rPr lang="en-US" altLang="en-US" dirty="0"/>
              <a:t>Cassettes used to record data</a:t>
            </a:r>
          </a:p>
          <a:p>
            <a:pPr lvl="1"/>
            <a:r>
              <a:rPr lang="en-US" altLang="en-US" dirty="0"/>
              <a:t>5 or 7 lead recording</a:t>
            </a:r>
          </a:p>
          <a:p>
            <a:pPr lvl="1"/>
            <a:endParaRPr lang="en-US" altLang="en-US" dirty="0"/>
          </a:p>
          <a:p>
            <a:r>
              <a:rPr lang="en-US" altLang="en-US" dirty="0"/>
              <a:t>SEER Recorder</a:t>
            </a:r>
          </a:p>
          <a:p>
            <a:pPr lvl="1"/>
            <a:r>
              <a:rPr lang="en-US" altLang="en-US" dirty="0"/>
              <a:t>Digital recording</a:t>
            </a:r>
          </a:p>
          <a:p>
            <a:pPr lvl="1"/>
            <a:r>
              <a:rPr lang="en-US" altLang="en-US" dirty="0"/>
              <a:t>5 leads only</a:t>
            </a:r>
          </a:p>
          <a:p>
            <a:pPr lvl="1"/>
            <a:endParaRPr lang="en-US" altLang="en-US" dirty="0"/>
          </a:p>
          <a:p>
            <a:r>
              <a:rPr lang="en-US" altLang="en-US" dirty="0"/>
              <a:t>SEER MC</a:t>
            </a:r>
          </a:p>
          <a:p>
            <a:pPr lvl="1"/>
            <a:r>
              <a:rPr lang="en-US" altLang="en-US" dirty="0"/>
              <a:t>Digital recording</a:t>
            </a:r>
          </a:p>
          <a:p>
            <a:pPr lvl="1"/>
            <a:r>
              <a:rPr lang="en-US" altLang="en-US" dirty="0"/>
              <a:t>5, 7 or 10 leads</a:t>
            </a:r>
          </a:p>
          <a:p>
            <a:pPr lvl="1"/>
            <a:endParaRPr lang="en-US" altLang="en-US" dirty="0"/>
          </a:p>
          <a:p>
            <a:r>
              <a:rPr lang="en-US" altLang="en-US" dirty="0"/>
              <a:t>SEER Light</a:t>
            </a:r>
          </a:p>
          <a:p>
            <a:pPr lvl="1"/>
            <a:r>
              <a:rPr lang="en-US" altLang="en-US" dirty="0"/>
              <a:t>Digital recording onto removable digital cards</a:t>
            </a:r>
          </a:p>
          <a:p>
            <a:pPr lvl="1"/>
            <a:r>
              <a:rPr lang="en-US" altLang="en-US" dirty="0"/>
              <a:t>5 or 7 lead</a:t>
            </a:r>
          </a:p>
          <a:p>
            <a:pPr lvl="1"/>
            <a:endParaRPr lang="en-US" altLang="en-US" dirty="0"/>
          </a:p>
          <a:p>
            <a:r>
              <a:rPr lang="en-US" altLang="en-US" dirty="0"/>
              <a:t>Down load data to Laser XP, SXP</a:t>
            </a:r>
          </a:p>
          <a:p>
            <a:endParaRPr lang="en-US" altLang="en-US" sz="3360" dirty="0">
              <a:solidFill>
                <a:schemeClr val="accent2"/>
              </a:solidFill>
            </a:endParaRPr>
          </a:p>
          <a:p>
            <a:endParaRPr lang="en-US" altLang="en-US" sz="2880" dirty="0">
              <a:solidFill>
                <a:schemeClr val="accent2"/>
              </a:solidFill>
            </a:endParaRPr>
          </a:p>
        </p:txBody>
      </p:sp>
      <p:pic>
        <p:nvPicPr>
          <p:cNvPr id="584708" name="Picture 4" descr="C:\Documents and Settings\Owner\My Documents\My Pictures\8500_record.jpg"/>
          <p:cNvPicPr>
            <a:picLocks noGrp="1" noChangeAspect="1" noChangeArrowheads="1"/>
          </p:cNvPicPr>
          <p:nvPr>
            <p:ph type="clipArt" sz="half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474720" y="1371601"/>
            <a:ext cx="3291840" cy="1964056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584709" name="Picture 5" descr="C:\Documents and Settings\Owner\My Documents\My Pictures\seer mc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8800" y="3291840"/>
            <a:ext cx="2926080" cy="2194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4710" name="Picture 6" descr="D:\docs\My Pictures\SEERLight2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4881" y="5029201"/>
            <a:ext cx="2057400" cy="2057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4711" name="Picture 7" descr="C:\Documents and Settings\Owner\My Documents\My Pictures\8500_record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4240" y="1384936"/>
            <a:ext cx="3291840" cy="1964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55131900"/>
      </p:ext>
    </p:extLst>
  </p:cSld>
  <p:clrMapOvr>
    <a:masterClrMapping/>
  </p:clrMapOvr>
  <p:transition spd="med">
    <p:checker/>
  </p:transition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7778" name="Rectangle 2050"/>
          <p:cNvSpPr>
            <a:spLocks noGrp="1" noChangeArrowheads="1"/>
          </p:cNvSpPr>
          <p:nvPr>
            <p:ph type="title"/>
          </p:nvPr>
        </p:nvSpPr>
        <p:spPr>
          <a:xfrm>
            <a:off x="2240281" y="252890"/>
            <a:ext cx="10151746" cy="590931"/>
          </a:xfrm>
        </p:spPr>
        <p:txBody>
          <a:bodyPr/>
          <a:lstStyle/>
          <a:p>
            <a:r>
              <a:rPr lang="en-US" altLang="en-US" sz="3840" dirty="0"/>
              <a:t>Holter Cables and </a:t>
            </a:r>
            <a:r>
              <a:rPr lang="en-US" altLang="en-US" sz="3840" dirty="0" err="1"/>
              <a:t>Leadwires</a:t>
            </a:r>
            <a:r>
              <a:rPr lang="en-US" altLang="en-US" sz="3840" dirty="0"/>
              <a:t> - EOL</a:t>
            </a:r>
          </a:p>
        </p:txBody>
      </p:sp>
      <p:sp>
        <p:nvSpPr>
          <p:cNvPr id="587779" name="Rectangle 2051"/>
          <p:cNvSpPr>
            <a:spLocks noGrp="1" noChangeArrowheads="1"/>
          </p:cNvSpPr>
          <p:nvPr>
            <p:ph type="body" sz="half" idx="2"/>
          </p:nvPr>
        </p:nvSpPr>
        <p:spPr>
          <a:xfrm>
            <a:off x="5364482" y="1371603"/>
            <a:ext cx="9265920" cy="4018331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altLang="en-US" sz="2640" dirty="0">
                <a:solidFill>
                  <a:srgbClr val="FF0000"/>
                </a:solidFill>
              </a:rPr>
              <a:t>ECG Cables</a:t>
            </a:r>
          </a:p>
          <a:p>
            <a:pPr>
              <a:lnSpc>
                <a:spcPct val="80000"/>
              </a:lnSpc>
            </a:pPr>
            <a:endParaRPr lang="en-US" altLang="en-US" sz="2640" dirty="0">
              <a:solidFill>
                <a:schemeClr val="hlink"/>
              </a:solidFill>
            </a:endParaRPr>
          </a:p>
          <a:p>
            <a:pPr>
              <a:lnSpc>
                <a:spcPct val="80000"/>
              </a:lnSpc>
              <a:buFontTx/>
              <a:buChar char="•"/>
            </a:pPr>
            <a:r>
              <a:rPr lang="en-US" altLang="en-US" sz="1920" dirty="0"/>
              <a:t>Snap lock cable locks </a:t>
            </a:r>
            <a:r>
              <a:rPr lang="en-US" altLang="en-US" sz="1920" dirty="0" err="1"/>
              <a:t>leadwires</a:t>
            </a:r>
            <a:r>
              <a:rPr lang="en-US" altLang="en-US" sz="1920" dirty="0"/>
              <a:t> in place to ensure a good connection </a:t>
            </a:r>
          </a:p>
          <a:p>
            <a:pPr>
              <a:lnSpc>
                <a:spcPct val="80000"/>
              </a:lnSpc>
              <a:buFontTx/>
              <a:buChar char="•"/>
            </a:pPr>
            <a:endParaRPr lang="en-US" altLang="en-US" sz="1920" dirty="0"/>
          </a:p>
          <a:p>
            <a:pPr>
              <a:lnSpc>
                <a:spcPct val="80000"/>
              </a:lnSpc>
              <a:buFontTx/>
              <a:buChar char="•"/>
            </a:pPr>
            <a:r>
              <a:rPr lang="en-US" altLang="en-US" sz="1920" dirty="0"/>
              <a:t>Release button allows </a:t>
            </a:r>
            <a:r>
              <a:rPr lang="en-US" altLang="en-US" sz="1920" dirty="0" err="1"/>
              <a:t>leadwires</a:t>
            </a:r>
            <a:r>
              <a:rPr lang="en-US" altLang="en-US" sz="1920" dirty="0"/>
              <a:t> to be removed when pressed</a:t>
            </a:r>
            <a:r>
              <a:rPr lang="en-US" altLang="en-US" dirty="0"/>
              <a:t> </a:t>
            </a:r>
          </a:p>
          <a:p>
            <a:pPr>
              <a:lnSpc>
                <a:spcPct val="80000"/>
              </a:lnSpc>
              <a:buFontTx/>
              <a:buChar char="•"/>
            </a:pPr>
            <a:endParaRPr lang="en-US" altLang="en-US" dirty="0"/>
          </a:p>
          <a:p>
            <a:pPr>
              <a:lnSpc>
                <a:spcPct val="80000"/>
              </a:lnSpc>
            </a:pPr>
            <a:endParaRPr lang="en-US" altLang="en-US" dirty="0"/>
          </a:p>
          <a:p>
            <a:pPr>
              <a:lnSpc>
                <a:spcPct val="80000"/>
              </a:lnSpc>
            </a:pPr>
            <a:endParaRPr lang="en-US" altLang="en-US" dirty="0"/>
          </a:p>
          <a:p>
            <a:pPr>
              <a:lnSpc>
                <a:spcPct val="80000"/>
              </a:lnSpc>
            </a:pPr>
            <a:r>
              <a:rPr lang="en-US" altLang="en-US" sz="2640" dirty="0">
                <a:solidFill>
                  <a:srgbClr val="FF0000"/>
                </a:solidFill>
              </a:rPr>
              <a:t>Snap-Lock </a:t>
            </a:r>
            <a:r>
              <a:rPr lang="en-US" altLang="en-US" sz="2640" dirty="0" err="1">
                <a:solidFill>
                  <a:srgbClr val="FF0000"/>
                </a:solidFill>
              </a:rPr>
              <a:t>Leadwires</a:t>
            </a:r>
            <a:endParaRPr lang="en-US" altLang="en-US" sz="2640" dirty="0">
              <a:solidFill>
                <a:srgbClr val="FF0000"/>
              </a:solidFill>
            </a:endParaRPr>
          </a:p>
          <a:p>
            <a:pPr>
              <a:lnSpc>
                <a:spcPct val="80000"/>
              </a:lnSpc>
            </a:pPr>
            <a:endParaRPr lang="en-US" altLang="en-US" sz="2640" dirty="0">
              <a:solidFill>
                <a:schemeClr val="hlink"/>
              </a:solidFill>
            </a:endParaRPr>
          </a:p>
          <a:p>
            <a:pPr>
              <a:lnSpc>
                <a:spcPct val="80000"/>
              </a:lnSpc>
              <a:buFontTx/>
              <a:buChar char="•"/>
            </a:pPr>
            <a:r>
              <a:rPr lang="en-US" altLang="en-US" sz="1920" dirty="0"/>
              <a:t>Improved snap design - easy to reconnect </a:t>
            </a:r>
            <a:r>
              <a:rPr lang="en-US" altLang="en-US" sz="1920" dirty="0" err="1"/>
              <a:t>leadwire</a:t>
            </a:r>
            <a:r>
              <a:rPr lang="en-US" altLang="en-US" sz="1920" dirty="0"/>
              <a:t> while on patient </a:t>
            </a:r>
          </a:p>
          <a:p>
            <a:pPr>
              <a:lnSpc>
                <a:spcPct val="80000"/>
              </a:lnSpc>
              <a:buFontTx/>
              <a:buChar char="•"/>
            </a:pPr>
            <a:endParaRPr lang="en-US" altLang="en-US" sz="1920" dirty="0"/>
          </a:p>
          <a:p>
            <a:pPr>
              <a:lnSpc>
                <a:spcPct val="80000"/>
              </a:lnSpc>
              <a:buFontTx/>
              <a:buChar char="•"/>
            </a:pPr>
            <a:r>
              <a:rPr lang="en-US" altLang="en-US" sz="1920" dirty="0"/>
              <a:t>Snap </a:t>
            </a:r>
            <a:r>
              <a:rPr lang="en-US" altLang="en-US" sz="1920" dirty="0" err="1"/>
              <a:t>leadwires</a:t>
            </a:r>
            <a:r>
              <a:rPr lang="en-US" altLang="en-US" sz="1920" dirty="0"/>
              <a:t> hold securely to electrode snap stud </a:t>
            </a:r>
          </a:p>
          <a:p>
            <a:pPr>
              <a:lnSpc>
                <a:spcPct val="80000"/>
              </a:lnSpc>
              <a:buFontTx/>
              <a:buChar char="•"/>
            </a:pPr>
            <a:endParaRPr lang="en-US" altLang="en-US" sz="1920" dirty="0"/>
          </a:p>
          <a:p>
            <a:pPr>
              <a:lnSpc>
                <a:spcPct val="80000"/>
              </a:lnSpc>
            </a:pPr>
            <a:endParaRPr lang="en-US" altLang="en-US" sz="1920" dirty="0"/>
          </a:p>
        </p:txBody>
      </p:sp>
      <p:pic>
        <p:nvPicPr>
          <p:cNvPr id="587780" name="Picture 2052" descr="C:\Documents and Settings\Owner\My Documents\My Pictures\holter cable snap-lock.jpg"/>
          <p:cNvPicPr>
            <a:picLocks noGrp="1" noChangeAspect="1" noChangeArrowheads="1"/>
          </p:cNvPicPr>
          <p:nvPr>
            <p:ph type="clipArt"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377441" y="1316356"/>
            <a:ext cx="2598421" cy="195834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587781" name="Picture 2053" descr="C:\Documents and Settings\Owner\My Documents\My Pictures\multi-link holter cable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8400" y="3611881"/>
            <a:ext cx="2583181" cy="1722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7782" name="Picture 2054" descr="C:\Documents and Settings\Owner\My Documents\My Pictures\ambulatory cable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9361" y="5543551"/>
            <a:ext cx="2634616" cy="16840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9046929"/>
      </p:ext>
    </p:extLst>
  </p:cSld>
  <p:clrMapOvr>
    <a:masterClrMapping/>
  </p:clrMapOvr>
  <p:transition spd="med">
    <p:checker/>
  </p:transition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946" name="Rectangle 1026"/>
          <p:cNvSpPr>
            <a:spLocks noGrp="1" noChangeArrowheads="1"/>
          </p:cNvSpPr>
          <p:nvPr>
            <p:ph type="title"/>
          </p:nvPr>
        </p:nvSpPr>
        <p:spPr>
          <a:xfrm>
            <a:off x="2240281" y="252890"/>
            <a:ext cx="10151746" cy="590931"/>
          </a:xfrm>
        </p:spPr>
        <p:txBody>
          <a:bodyPr/>
          <a:lstStyle/>
          <a:p>
            <a:r>
              <a:rPr lang="en-US" altLang="en-US" sz="3840" dirty="0"/>
              <a:t>Holter Hook-Up Kits &amp; Pouches - EOL</a:t>
            </a:r>
          </a:p>
        </p:txBody>
      </p:sp>
      <p:sp>
        <p:nvSpPr>
          <p:cNvPr id="594947" name="Rectangle 1027"/>
          <p:cNvSpPr>
            <a:spLocks noGrp="1" noChangeArrowheads="1"/>
          </p:cNvSpPr>
          <p:nvPr>
            <p:ph type="body" sz="half" idx="2"/>
          </p:nvPr>
        </p:nvSpPr>
        <p:spPr>
          <a:xfrm>
            <a:off x="6736081" y="1263017"/>
            <a:ext cx="4488181" cy="4635115"/>
          </a:xfrm>
        </p:spPr>
        <p:txBody>
          <a:bodyPr/>
          <a:lstStyle/>
          <a:p>
            <a:r>
              <a:rPr lang="en-US" altLang="en-US" dirty="0"/>
              <a:t>Convenient</a:t>
            </a:r>
          </a:p>
          <a:p>
            <a:endParaRPr lang="en-US" altLang="en-US" dirty="0"/>
          </a:p>
          <a:p>
            <a:r>
              <a:rPr lang="en-US" altLang="en-US" dirty="0"/>
              <a:t>Everything in one place</a:t>
            </a:r>
          </a:p>
          <a:p>
            <a:pPr lvl="1"/>
            <a:r>
              <a:rPr lang="en-US" altLang="en-US" dirty="0"/>
              <a:t>Electrodes</a:t>
            </a:r>
          </a:p>
          <a:p>
            <a:pPr lvl="1"/>
            <a:r>
              <a:rPr lang="en-US" altLang="en-US" dirty="0"/>
              <a:t>Cassettes (if needed)</a:t>
            </a:r>
          </a:p>
          <a:p>
            <a:pPr lvl="1"/>
            <a:r>
              <a:rPr lang="en-US" altLang="en-US" dirty="0"/>
              <a:t>Prep pads</a:t>
            </a:r>
          </a:p>
          <a:p>
            <a:pPr lvl="1"/>
            <a:r>
              <a:rPr lang="en-US" altLang="en-US" dirty="0"/>
              <a:t>Patient Diary</a:t>
            </a:r>
          </a:p>
          <a:p>
            <a:r>
              <a:rPr lang="en-US" altLang="en-US" dirty="0"/>
              <a:t>Cardiology Departments</a:t>
            </a:r>
          </a:p>
          <a:p>
            <a:endParaRPr lang="en-US" altLang="en-US" dirty="0"/>
          </a:p>
          <a:p>
            <a:r>
              <a:rPr lang="en-US" altLang="en-US" dirty="0"/>
              <a:t>Pouches &amp; Belt</a:t>
            </a:r>
          </a:p>
          <a:p>
            <a:endParaRPr lang="en-US" altLang="en-US" sz="2040" dirty="0"/>
          </a:p>
          <a:p>
            <a:r>
              <a:rPr lang="en-US" altLang="en-US" sz="2040" dirty="0"/>
              <a:t>SEER Light – Pouch, Belt and Strap</a:t>
            </a:r>
          </a:p>
          <a:p>
            <a:pPr>
              <a:buFontTx/>
              <a:buChar char="•"/>
            </a:pPr>
            <a:endParaRPr lang="en-US" altLang="en-US" sz="2040" dirty="0"/>
          </a:p>
          <a:p>
            <a:pPr lvl="1"/>
            <a:endParaRPr lang="en-US" altLang="en-US" dirty="0"/>
          </a:p>
        </p:txBody>
      </p:sp>
      <p:pic>
        <p:nvPicPr>
          <p:cNvPr id="594948" name="Picture 1028" descr="C:\Documents and Settings\Owner\My Documents\My Pictures\8500 kit"/>
          <p:cNvPicPr>
            <a:picLocks noGrp="1" noChangeAspect="1" noChangeArrowheads="1"/>
          </p:cNvPicPr>
          <p:nvPr>
            <p:ph type="clipArt"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346962" y="1082041"/>
            <a:ext cx="2503170" cy="336804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594949" name="Picture 1029" descr="D:\docs\My Pictures\421012-00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6721" y="4754880"/>
            <a:ext cx="1996440" cy="1491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4950" name="Picture 1030" descr="C:\Documents and Settings\Owner\My Documents\My Pictures\seer pouch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8802" y="4145281"/>
            <a:ext cx="2230755" cy="1914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4951" name="Picture 1031" descr="D:\docs\My Pictures\2008596-001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0281" y="5878830"/>
            <a:ext cx="1905000" cy="1482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3368087"/>
      </p:ext>
    </p:extLst>
  </p:cSld>
  <p:clrMapOvr>
    <a:masterClrMapping/>
  </p:clrMapOvr>
  <p:transition spd="med">
    <p:checker/>
  </p:transition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65760" y="2517016"/>
            <a:ext cx="8778240" cy="2015936"/>
          </a:xfrm>
          <a:prstGeom prst="rect">
            <a:avLst/>
          </a:prstGeom>
        </p:spPr>
        <p:txBody>
          <a:bodyPr spcFirstLastPara="1" vert="horz" wrap="square" lIns="0" tIns="20320" rIns="0" bIns="0" rtlCol="0" anchor="ctr" anchorCtr="0">
            <a:spAutoFit/>
          </a:bodyPr>
          <a:lstStyle/>
          <a:p>
            <a:pPr marL="20320">
              <a:lnSpc>
                <a:spcPct val="100000"/>
              </a:lnSpc>
              <a:spcBef>
                <a:spcPts val="160"/>
              </a:spcBef>
            </a:pPr>
            <a:r>
              <a:rPr sz="12800" dirty="0"/>
              <a:t>Electr</a:t>
            </a:r>
            <a:r>
              <a:rPr sz="12800" spc="8" dirty="0"/>
              <a:t>o</a:t>
            </a:r>
            <a:r>
              <a:rPr sz="12800" dirty="0"/>
              <a:t>des</a:t>
            </a:r>
          </a:p>
        </p:txBody>
      </p:sp>
      <p:sp>
        <p:nvSpPr>
          <p:cNvPr id="4" name="object 4"/>
          <p:cNvSpPr/>
          <p:nvPr/>
        </p:nvSpPr>
        <p:spPr>
          <a:xfrm>
            <a:off x="8869680" y="1828800"/>
            <a:ext cx="3417418" cy="4572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5" name="object 5"/>
          <p:cNvSpPr txBox="1"/>
          <p:nvPr/>
        </p:nvSpPr>
        <p:spPr>
          <a:xfrm>
            <a:off x="8484818" y="7637661"/>
            <a:ext cx="3445256" cy="247247"/>
          </a:xfrm>
          <a:prstGeom prst="rect">
            <a:avLst/>
          </a:prstGeom>
        </p:spPr>
        <p:txBody>
          <a:bodyPr vert="horz" wrap="square" lIns="0" tIns="1016" rIns="0" bIns="0" rtlCol="0">
            <a:spAutoFit/>
          </a:bodyPr>
          <a:lstStyle/>
          <a:p>
            <a:pPr marL="20320">
              <a:spcBef>
                <a:spcPts val="8"/>
              </a:spcBef>
            </a:pPr>
            <a:r>
              <a:rPr sz="1600" b="1" dirty="0">
                <a:solidFill>
                  <a:srgbClr val="F1F1F1"/>
                </a:solidFill>
              </a:rPr>
              <a:t>CONFIDENTIAL – Internal Use</a:t>
            </a:r>
            <a:r>
              <a:rPr sz="1600" b="1" spc="-216" dirty="0">
                <a:solidFill>
                  <a:srgbClr val="F1F1F1"/>
                </a:solidFill>
              </a:rPr>
              <a:t> </a:t>
            </a:r>
            <a:r>
              <a:rPr sz="1600" b="1" dirty="0">
                <a:solidFill>
                  <a:srgbClr val="F1F1F1"/>
                </a:solidFill>
              </a:rPr>
              <a:t>Only</a:t>
            </a:r>
            <a:endParaRPr sz="1600"/>
          </a:p>
        </p:txBody>
      </p:sp>
    </p:spTree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57505" y="700170"/>
            <a:ext cx="4375912" cy="600164"/>
          </a:xfrm>
          <a:prstGeom prst="rect">
            <a:avLst/>
          </a:prstGeom>
        </p:spPr>
        <p:txBody>
          <a:bodyPr spcFirstLastPara="1" vert="horz" wrap="square" lIns="0" tIns="20320" rIns="0" bIns="0" rtlCol="0" anchor="ctr" anchorCtr="0">
            <a:spAutoFit/>
          </a:bodyPr>
          <a:lstStyle/>
          <a:p>
            <a:pPr marL="20320">
              <a:lnSpc>
                <a:spcPct val="100000"/>
              </a:lnSpc>
              <a:spcBef>
                <a:spcPts val="160"/>
              </a:spcBef>
            </a:pPr>
            <a:r>
              <a:rPr u="none" dirty="0"/>
              <a:t>What to</a:t>
            </a:r>
            <a:r>
              <a:rPr spc="-136" dirty="0"/>
              <a:t> </a:t>
            </a:r>
            <a:r>
              <a:rPr u="none" dirty="0"/>
              <a:t>compare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5627826" y="1868626"/>
            <a:ext cx="3397504" cy="4533292"/>
          </a:xfrm>
          <a:prstGeom prst="rect">
            <a:avLst/>
          </a:prstGeom>
        </p:spPr>
        <p:txBody>
          <a:bodyPr vert="horz" wrap="square" lIns="0" tIns="19304" rIns="0" bIns="0" rtlCol="0">
            <a:spAutoFit/>
          </a:bodyPr>
          <a:lstStyle/>
          <a:p>
            <a:pPr marL="576072" indent="-556768">
              <a:spcBef>
                <a:spcPts val="152"/>
              </a:spcBef>
              <a:buClr>
                <a:srgbClr val="71B0D3"/>
              </a:buClr>
              <a:buChar char="•"/>
              <a:tabLst>
                <a:tab pos="576072" algn="l"/>
                <a:tab pos="577088" algn="l"/>
              </a:tabLst>
            </a:pPr>
            <a:r>
              <a:rPr sz="2720" spc="-8" dirty="0">
                <a:solidFill>
                  <a:srgbClr val="517AC6"/>
                </a:solidFill>
              </a:rPr>
              <a:t>Material</a:t>
            </a:r>
            <a:endParaRPr sz="2720"/>
          </a:p>
          <a:p>
            <a:pPr marL="576072" indent="-556768">
              <a:buClr>
                <a:srgbClr val="71B0D3"/>
              </a:buClr>
              <a:buChar char="•"/>
              <a:tabLst>
                <a:tab pos="576072" algn="l"/>
                <a:tab pos="577088" algn="l"/>
              </a:tabLst>
            </a:pPr>
            <a:r>
              <a:rPr sz="2720" spc="-8" dirty="0">
                <a:solidFill>
                  <a:srgbClr val="517AC6"/>
                </a:solidFill>
              </a:rPr>
              <a:t>Gel</a:t>
            </a:r>
            <a:endParaRPr sz="2720"/>
          </a:p>
          <a:p>
            <a:pPr marL="576072" indent="-556768">
              <a:buClr>
                <a:srgbClr val="71B0D3"/>
              </a:buClr>
              <a:buChar char="•"/>
              <a:tabLst>
                <a:tab pos="576072" algn="l"/>
                <a:tab pos="577088" algn="l"/>
              </a:tabLst>
            </a:pPr>
            <a:r>
              <a:rPr sz="2720" spc="-8" dirty="0">
                <a:solidFill>
                  <a:srgbClr val="517AC6"/>
                </a:solidFill>
              </a:rPr>
              <a:t>Size</a:t>
            </a:r>
            <a:endParaRPr sz="2720"/>
          </a:p>
          <a:p>
            <a:pPr marL="576072" indent="-556768">
              <a:buClr>
                <a:srgbClr val="71B0D3"/>
              </a:buClr>
              <a:buChar char="•"/>
              <a:tabLst>
                <a:tab pos="576072" algn="l"/>
                <a:tab pos="577088" algn="l"/>
              </a:tabLst>
            </a:pPr>
            <a:r>
              <a:rPr sz="2720" spc="-8" dirty="0">
                <a:solidFill>
                  <a:srgbClr val="517AC6"/>
                </a:solidFill>
              </a:rPr>
              <a:t>Shape</a:t>
            </a:r>
            <a:endParaRPr sz="2720"/>
          </a:p>
          <a:p>
            <a:pPr marL="576072" indent="-556768">
              <a:spcBef>
                <a:spcPts val="8"/>
              </a:spcBef>
              <a:buClr>
                <a:srgbClr val="71B0D3"/>
              </a:buClr>
              <a:buChar char="•"/>
              <a:tabLst>
                <a:tab pos="576072" algn="l"/>
                <a:tab pos="577088" algn="l"/>
              </a:tabLst>
            </a:pPr>
            <a:r>
              <a:rPr sz="2720" spc="-8" dirty="0">
                <a:solidFill>
                  <a:srgbClr val="517AC6"/>
                </a:solidFill>
              </a:rPr>
              <a:t>“Stickiness”</a:t>
            </a:r>
            <a:endParaRPr sz="2720"/>
          </a:p>
          <a:p>
            <a:pPr marL="576072" indent="-556768">
              <a:buClr>
                <a:srgbClr val="71B0D3"/>
              </a:buClr>
              <a:buChar char="•"/>
              <a:tabLst>
                <a:tab pos="576072" algn="l"/>
                <a:tab pos="577088" algn="l"/>
              </a:tabLst>
            </a:pPr>
            <a:r>
              <a:rPr sz="2720" spc="-8" dirty="0">
                <a:solidFill>
                  <a:srgbClr val="517AC6"/>
                </a:solidFill>
              </a:rPr>
              <a:t>Radiolucency/MRI</a:t>
            </a:r>
            <a:endParaRPr sz="2720"/>
          </a:p>
          <a:p>
            <a:pPr marL="576072" indent="-556768">
              <a:buClr>
                <a:srgbClr val="71B0D3"/>
              </a:buClr>
              <a:buChar char="•"/>
              <a:tabLst>
                <a:tab pos="576072" algn="l"/>
                <a:tab pos="577088" algn="l"/>
              </a:tabLst>
            </a:pPr>
            <a:r>
              <a:rPr sz="2720" spc="-8" dirty="0">
                <a:solidFill>
                  <a:srgbClr val="517AC6"/>
                </a:solidFill>
              </a:rPr>
              <a:t>Connection</a:t>
            </a:r>
            <a:endParaRPr sz="2720"/>
          </a:p>
          <a:p>
            <a:pPr marL="576072" indent="-556768">
              <a:buClr>
                <a:srgbClr val="71B0D3"/>
              </a:buClr>
              <a:buChar char="•"/>
              <a:tabLst>
                <a:tab pos="576072" algn="l"/>
                <a:tab pos="577088" algn="l"/>
              </a:tabLst>
            </a:pPr>
            <a:r>
              <a:rPr sz="2720" spc="-8" dirty="0">
                <a:solidFill>
                  <a:srgbClr val="517AC6"/>
                </a:solidFill>
              </a:rPr>
              <a:t>Packaging</a:t>
            </a:r>
            <a:endParaRPr sz="2720"/>
          </a:p>
          <a:p>
            <a:pPr marL="576072" marR="38608" indent="-556768">
              <a:lnSpc>
                <a:spcPct val="80000"/>
              </a:lnSpc>
              <a:spcBef>
                <a:spcPts val="648"/>
              </a:spcBef>
              <a:buClr>
                <a:srgbClr val="71B0D3"/>
              </a:buClr>
              <a:buChar char="•"/>
              <a:tabLst>
                <a:tab pos="576072" algn="l"/>
                <a:tab pos="577088" algn="l"/>
              </a:tabLst>
            </a:pPr>
            <a:r>
              <a:rPr sz="2720" spc="-8" dirty="0">
                <a:solidFill>
                  <a:srgbClr val="517AC6"/>
                </a:solidFill>
              </a:rPr>
              <a:t>Patient population  (neo </a:t>
            </a:r>
            <a:r>
              <a:rPr sz="2720" dirty="0">
                <a:solidFill>
                  <a:srgbClr val="517AC6"/>
                </a:solidFill>
              </a:rPr>
              <a:t>vs.</a:t>
            </a:r>
            <a:r>
              <a:rPr sz="2720" spc="-8" dirty="0">
                <a:solidFill>
                  <a:srgbClr val="517AC6"/>
                </a:solidFill>
              </a:rPr>
              <a:t> others)</a:t>
            </a:r>
            <a:endParaRPr sz="2720"/>
          </a:p>
          <a:p>
            <a:pPr marL="576072" indent="-556768">
              <a:buClr>
                <a:srgbClr val="71B0D3"/>
              </a:buClr>
              <a:buChar char="•"/>
              <a:tabLst>
                <a:tab pos="576072" algn="l"/>
                <a:tab pos="577088" algn="l"/>
              </a:tabLst>
            </a:pPr>
            <a:r>
              <a:rPr sz="2720" spc="-8" dirty="0">
                <a:solidFill>
                  <a:srgbClr val="517AC6"/>
                </a:solidFill>
              </a:rPr>
              <a:t>Quality</a:t>
            </a:r>
            <a:endParaRPr sz="2720"/>
          </a:p>
        </p:txBody>
      </p:sp>
      <p:sp>
        <p:nvSpPr>
          <p:cNvPr id="4" name="object 4"/>
          <p:cNvSpPr/>
          <p:nvPr/>
        </p:nvSpPr>
        <p:spPr>
          <a:xfrm>
            <a:off x="0" y="0"/>
            <a:ext cx="5113325" cy="739810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5" name="object 5"/>
          <p:cNvSpPr/>
          <p:nvPr/>
        </p:nvSpPr>
        <p:spPr>
          <a:xfrm>
            <a:off x="8961120" y="0"/>
            <a:ext cx="5669280" cy="739810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6" name="object 6"/>
          <p:cNvSpPr txBox="1"/>
          <p:nvPr/>
        </p:nvSpPr>
        <p:spPr>
          <a:xfrm>
            <a:off x="8484818" y="7637661"/>
            <a:ext cx="3445256" cy="247247"/>
          </a:xfrm>
          <a:prstGeom prst="rect">
            <a:avLst/>
          </a:prstGeom>
        </p:spPr>
        <p:txBody>
          <a:bodyPr vert="horz" wrap="square" lIns="0" tIns="1016" rIns="0" bIns="0" rtlCol="0">
            <a:spAutoFit/>
          </a:bodyPr>
          <a:lstStyle/>
          <a:p>
            <a:pPr marL="20320">
              <a:spcBef>
                <a:spcPts val="8"/>
              </a:spcBef>
            </a:pPr>
            <a:r>
              <a:rPr sz="1600" b="1" dirty="0">
                <a:solidFill>
                  <a:srgbClr val="F1F1F1"/>
                </a:solidFill>
              </a:rPr>
              <a:t>CONFIDENTIAL – Internal Use</a:t>
            </a:r>
            <a:r>
              <a:rPr sz="1600" b="1" spc="-216" dirty="0">
                <a:solidFill>
                  <a:srgbClr val="F1F1F1"/>
                </a:solidFill>
              </a:rPr>
              <a:t> </a:t>
            </a:r>
            <a:r>
              <a:rPr sz="1600" b="1" dirty="0">
                <a:solidFill>
                  <a:srgbClr val="F1F1F1"/>
                </a:solidFill>
              </a:rPr>
              <a:t>Only</a:t>
            </a:r>
            <a:endParaRPr sz="160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500428" y="7657982"/>
            <a:ext cx="10408920" cy="500650"/>
          </a:xfrm>
          <a:prstGeom prst="rect">
            <a:avLst/>
          </a:prstGeom>
        </p:spPr>
        <p:txBody>
          <a:bodyPr vert="horz" wrap="square" lIns="0" tIns="8128" rIns="0" bIns="0" rtlCol="0">
            <a:spAutoFit/>
          </a:bodyPr>
          <a:lstStyle/>
          <a:p>
            <a:pPr>
              <a:spcBef>
                <a:spcPts val="64"/>
              </a:spcBef>
              <a:tabLst>
                <a:tab pos="4878832" algn="l"/>
                <a:tab pos="7457440" algn="l"/>
              </a:tabLst>
            </a:pPr>
            <a:r>
              <a:rPr sz="1920" spc="35" baseline="-6944" dirty="0">
                <a:solidFill>
                  <a:srgbClr val="0C1524"/>
                </a:solidFill>
                <a:latin typeface="Verdana"/>
                <a:cs typeface="Verdana"/>
              </a:rPr>
              <a:t>87	</a:t>
            </a:r>
            <a:r>
              <a:rPr sz="960" spc="-8" dirty="0">
                <a:solidFill>
                  <a:srgbClr val="F58023"/>
                </a:solidFill>
                <a:latin typeface="Verdana"/>
                <a:cs typeface="Verdana"/>
              </a:rPr>
              <a:t>CONFIDENTIAL </a:t>
            </a:r>
            <a:r>
              <a:rPr sz="960" dirty="0">
                <a:solidFill>
                  <a:srgbClr val="F58023"/>
                </a:solidFill>
                <a:latin typeface="Verdana"/>
                <a:cs typeface="Verdana"/>
              </a:rPr>
              <a:t>– for </a:t>
            </a:r>
            <a:r>
              <a:rPr sz="960" spc="-16" dirty="0">
                <a:solidFill>
                  <a:srgbClr val="F58023"/>
                </a:solidFill>
                <a:latin typeface="Verdana"/>
                <a:cs typeface="Verdana"/>
              </a:rPr>
              <a:t>internal</a:t>
            </a:r>
            <a:r>
              <a:rPr sz="960" spc="152" dirty="0">
                <a:solidFill>
                  <a:srgbClr val="F58023"/>
                </a:solidFill>
                <a:latin typeface="Verdana"/>
                <a:cs typeface="Verdana"/>
              </a:rPr>
              <a:t> </a:t>
            </a:r>
            <a:r>
              <a:rPr sz="960" spc="-8" dirty="0">
                <a:solidFill>
                  <a:srgbClr val="F58023"/>
                </a:solidFill>
                <a:latin typeface="Verdana"/>
                <a:cs typeface="Verdana"/>
              </a:rPr>
              <a:t>use</a:t>
            </a:r>
            <a:r>
              <a:rPr sz="960" dirty="0">
                <a:solidFill>
                  <a:srgbClr val="F58023"/>
                </a:solidFill>
                <a:latin typeface="Verdana"/>
                <a:cs typeface="Verdana"/>
              </a:rPr>
              <a:t> </a:t>
            </a:r>
            <a:r>
              <a:rPr sz="960" spc="-192" dirty="0">
                <a:solidFill>
                  <a:srgbClr val="F58023"/>
                </a:solidFill>
                <a:latin typeface="Verdana"/>
                <a:cs typeface="Verdana"/>
              </a:rPr>
              <a:t>o</a:t>
            </a:r>
            <a:r>
              <a:rPr sz="2400" b="1" spc="-286" baseline="8333" dirty="0">
                <a:solidFill>
                  <a:srgbClr val="F1F1F1"/>
                </a:solidFill>
              </a:rPr>
              <a:t>CON</a:t>
            </a:r>
            <a:r>
              <a:rPr sz="960" spc="-192" dirty="0">
                <a:solidFill>
                  <a:srgbClr val="F58023"/>
                </a:solidFill>
                <a:latin typeface="Verdana"/>
                <a:cs typeface="Verdana"/>
              </a:rPr>
              <a:t>nly	</a:t>
            </a:r>
            <a:r>
              <a:rPr sz="2400" b="1" baseline="8333" dirty="0">
                <a:solidFill>
                  <a:srgbClr val="F1F1F1"/>
                </a:solidFill>
              </a:rPr>
              <a:t>FIDENTIAL – Internal Use</a:t>
            </a:r>
            <a:r>
              <a:rPr sz="2400" b="1" spc="-192" baseline="8333" dirty="0">
                <a:solidFill>
                  <a:srgbClr val="F1F1F1"/>
                </a:solidFill>
              </a:rPr>
              <a:t> </a:t>
            </a:r>
            <a:r>
              <a:rPr sz="2400" b="1" baseline="8333" dirty="0">
                <a:solidFill>
                  <a:srgbClr val="F1F1F1"/>
                </a:solidFill>
              </a:rPr>
              <a:t>Only</a:t>
            </a:r>
            <a:endParaRPr sz="2400" baseline="8333"/>
          </a:p>
        </p:txBody>
      </p:sp>
      <p:sp>
        <p:nvSpPr>
          <p:cNvPr id="3" name="object 3"/>
          <p:cNvSpPr/>
          <p:nvPr/>
        </p:nvSpPr>
        <p:spPr>
          <a:xfrm>
            <a:off x="0" y="0"/>
            <a:ext cx="14630400" cy="822959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lang="en-GB" sz="2240" b="1" dirty="0"/>
          </a:p>
        </p:txBody>
      </p:sp>
      <p:sp>
        <p:nvSpPr>
          <p:cNvPr id="4" name="object 4"/>
          <p:cNvSpPr txBox="1">
            <a:spLocks noGrp="1"/>
          </p:cNvSpPr>
          <p:nvPr>
            <p:ph type="ctrTitle"/>
          </p:nvPr>
        </p:nvSpPr>
        <p:spPr>
          <a:xfrm>
            <a:off x="1097281" y="3098994"/>
            <a:ext cx="10740338" cy="735586"/>
          </a:xfrm>
          <a:prstGeom prst="rect">
            <a:avLst/>
          </a:prstGeom>
        </p:spPr>
        <p:txBody>
          <a:bodyPr spcFirstLastPara="1" vert="horz" wrap="square" lIns="0" tIns="20320" rIns="0" bIns="0" rtlCol="0" anchor="ctr" anchorCtr="0">
            <a:spAutoFit/>
          </a:bodyPr>
          <a:lstStyle/>
          <a:p>
            <a:pPr marL="20320">
              <a:lnSpc>
                <a:spcPct val="100000"/>
              </a:lnSpc>
              <a:spcBef>
                <a:spcPts val="160"/>
              </a:spcBef>
            </a:pPr>
            <a:r>
              <a:rPr u="none" dirty="0"/>
              <a:t>ECG</a:t>
            </a:r>
            <a:r>
              <a:rPr u="none" spc="-144" dirty="0"/>
              <a:t> </a:t>
            </a:r>
            <a:r>
              <a:rPr u="none" dirty="0"/>
              <a:t>Monitoring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4"/>
          </p:nvPr>
        </p:nvSpPr>
        <p:spPr>
          <a:xfrm>
            <a:off x="365760" y="6431280"/>
            <a:ext cx="10241280" cy="1058560"/>
          </a:xfrm>
        </p:spPr>
        <p:txBody>
          <a:bodyPr/>
          <a:lstStyle/>
          <a:p>
            <a:pPr marL="114300" lvl="0" indent="0" algn="l" rtl="0">
              <a:buNone/>
            </a:pPr>
            <a:r>
              <a:rPr lang="en-GB" sz="2880" b="1" kern="1200" dirty="0">
                <a:solidFill>
                  <a:prstClr val="black"/>
                </a:solidFill>
                <a:cs typeface="+mn-cs"/>
              </a:rPr>
              <a:t>Monitor a patient’s ECG rhythm and rate</a:t>
            </a:r>
          </a:p>
          <a:p>
            <a:endParaRPr lang="en-GB" dirty="0"/>
          </a:p>
        </p:txBody>
      </p:sp>
    </p:spTree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57505" y="632460"/>
            <a:ext cx="4820920" cy="735586"/>
          </a:xfrm>
          <a:prstGeom prst="rect">
            <a:avLst/>
          </a:prstGeom>
        </p:spPr>
        <p:txBody>
          <a:bodyPr spcFirstLastPara="1" vert="horz" wrap="square" lIns="0" tIns="20320" rIns="0" bIns="0" rtlCol="0" anchor="ctr" anchorCtr="0">
            <a:spAutoFit/>
          </a:bodyPr>
          <a:lstStyle/>
          <a:p>
            <a:pPr marL="20320">
              <a:lnSpc>
                <a:spcPct val="100000"/>
              </a:lnSpc>
              <a:spcBef>
                <a:spcPts val="160"/>
              </a:spcBef>
              <a:tabLst>
                <a:tab pos="2583688" algn="l"/>
              </a:tabLst>
            </a:pPr>
            <a:r>
              <a:rPr u="none" dirty="0"/>
              <a:t>From</a:t>
            </a:r>
            <a:r>
              <a:rPr u="none" spc="8" dirty="0"/>
              <a:t> </a:t>
            </a:r>
            <a:r>
              <a:rPr u="none" dirty="0"/>
              <a:t>us:	two</a:t>
            </a:r>
            <a:r>
              <a:rPr u="none" spc="-144" dirty="0"/>
              <a:t> </a:t>
            </a:r>
            <a:r>
              <a:rPr u="none" dirty="0"/>
              <a:t>lines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857505" y="1937462"/>
            <a:ext cx="4703064" cy="2911053"/>
          </a:xfrm>
          <a:prstGeom prst="rect">
            <a:avLst/>
          </a:prstGeom>
        </p:spPr>
        <p:txBody>
          <a:bodyPr vert="horz" wrap="square" lIns="0" tIns="150368" rIns="0" bIns="0" rtlCol="0">
            <a:spAutoFit/>
          </a:bodyPr>
          <a:lstStyle/>
          <a:p>
            <a:pPr marL="20320">
              <a:spcBef>
                <a:spcPts val="1184"/>
              </a:spcBef>
            </a:pPr>
            <a:r>
              <a:rPr sz="2880" b="1" spc="-16" dirty="0">
                <a:solidFill>
                  <a:srgbClr val="517AC6"/>
                </a:solidFill>
              </a:rPr>
              <a:t>SilverTrace/ </a:t>
            </a:r>
            <a:r>
              <a:rPr sz="2880" b="1" spc="-8" dirty="0">
                <a:solidFill>
                  <a:srgbClr val="517AC6"/>
                </a:solidFill>
              </a:rPr>
              <a:t>Mactrode</a:t>
            </a:r>
            <a:endParaRPr sz="2880" dirty="0"/>
          </a:p>
          <a:p>
            <a:pPr marL="576072" indent="-556768">
              <a:spcBef>
                <a:spcPts val="1144"/>
              </a:spcBef>
              <a:buClr>
                <a:srgbClr val="71B0D3"/>
              </a:buClr>
              <a:buChar char="•"/>
              <a:tabLst>
                <a:tab pos="576072" algn="l"/>
                <a:tab pos="577088" algn="l"/>
              </a:tabLst>
            </a:pPr>
            <a:r>
              <a:rPr sz="3200" spc="-8" dirty="0">
                <a:solidFill>
                  <a:srgbClr val="517AC6"/>
                </a:solidFill>
              </a:rPr>
              <a:t>High</a:t>
            </a:r>
            <a:r>
              <a:rPr sz="3200" dirty="0">
                <a:solidFill>
                  <a:srgbClr val="517AC6"/>
                </a:solidFill>
              </a:rPr>
              <a:t> </a:t>
            </a:r>
            <a:r>
              <a:rPr sz="3200" spc="-8" dirty="0">
                <a:solidFill>
                  <a:srgbClr val="517AC6"/>
                </a:solidFill>
              </a:rPr>
              <a:t>Quality</a:t>
            </a:r>
            <a:endParaRPr sz="3200" dirty="0"/>
          </a:p>
          <a:p>
            <a:pPr marL="576072" marR="8128" indent="-556768">
              <a:spcBef>
                <a:spcPts val="768"/>
              </a:spcBef>
              <a:buClr>
                <a:srgbClr val="71B0D3"/>
              </a:buClr>
              <a:buChar char="•"/>
              <a:tabLst>
                <a:tab pos="576072" algn="l"/>
                <a:tab pos="577088" algn="l"/>
              </a:tabLst>
            </a:pPr>
            <a:r>
              <a:rPr sz="3200" spc="-8" dirty="0">
                <a:solidFill>
                  <a:srgbClr val="517AC6"/>
                </a:solidFill>
              </a:rPr>
              <a:t>Better for Cardiology</a:t>
            </a:r>
            <a:r>
              <a:rPr sz="3200" spc="-40" dirty="0">
                <a:solidFill>
                  <a:srgbClr val="517AC6"/>
                </a:solidFill>
              </a:rPr>
              <a:t> </a:t>
            </a:r>
            <a:r>
              <a:rPr sz="3200" spc="-8" dirty="0">
                <a:solidFill>
                  <a:srgbClr val="517AC6"/>
                </a:solidFill>
              </a:rPr>
              <a:t>&amp;  demanding customers</a:t>
            </a:r>
            <a:endParaRPr sz="3200" dirty="0"/>
          </a:p>
          <a:p>
            <a:pPr marL="576072" indent="-556768">
              <a:spcBef>
                <a:spcPts val="768"/>
              </a:spcBef>
              <a:buClr>
                <a:srgbClr val="71B0D3"/>
              </a:buClr>
              <a:buChar char="•"/>
              <a:tabLst>
                <a:tab pos="576072" algn="l"/>
                <a:tab pos="577088" algn="l"/>
              </a:tabLst>
            </a:pPr>
            <a:r>
              <a:rPr sz="3200" spc="-8" dirty="0">
                <a:solidFill>
                  <a:srgbClr val="517AC6"/>
                </a:solidFill>
              </a:rPr>
              <a:t>More wet gel</a:t>
            </a:r>
            <a:r>
              <a:rPr sz="3200" spc="-40" dirty="0">
                <a:solidFill>
                  <a:srgbClr val="517AC6"/>
                </a:solidFill>
              </a:rPr>
              <a:t> </a:t>
            </a:r>
            <a:r>
              <a:rPr sz="3200" spc="-8" dirty="0">
                <a:solidFill>
                  <a:srgbClr val="517AC6"/>
                </a:solidFill>
              </a:rPr>
              <a:t>options</a:t>
            </a:r>
            <a:endParaRPr sz="3200" dirty="0"/>
          </a:p>
        </p:txBody>
      </p:sp>
      <p:sp>
        <p:nvSpPr>
          <p:cNvPr id="4" name="object 4"/>
          <p:cNvSpPr txBox="1"/>
          <p:nvPr/>
        </p:nvSpPr>
        <p:spPr>
          <a:xfrm>
            <a:off x="7558634" y="2068169"/>
            <a:ext cx="1802384" cy="463717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20320">
              <a:spcBef>
                <a:spcPts val="160"/>
              </a:spcBef>
            </a:pPr>
            <a:r>
              <a:rPr sz="2880" b="1" spc="-56" dirty="0">
                <a:solidFill>
                  <a:srgbClr val="517AC6"/>
                </a:solidFill>
              </a:rPr>
              <a:t>V</a:t>
            </a:r>
            <a:r>
              <a:rPr sz="2880" b="1" dirty="0">
                <a:solidFill>
                  <a:srgbClr val="517AC6"/>
                </a:solidFill>
              </a:rPr>
              <a:t>italS</a:t>
            </a:r>
            <a:r>
              <a:rPr sz="2880" b="1" spc="-16" dirty="0">
                <a:solidFill>
                  <a:srgbClr val="517AC6"/>
                </a:solidFill>
              </a:rPr>
              <a:t>i</a:t>
            </a:r>
            <a:r>
              <a:rPr sz="2880" b="1" dirty="0">
                <a:solidFill>
                  <a:srgbClr val="517AC6"/>
                </a:solidFill>
              </a:rPr>
              <a:t>gns</a:t>
            </a:r>
            <a:endParaRPr sz="2880"/>
          </a:p>
        </p:txBody>
      </p:sp>
      <p:sp>
        <p:nvSpPr>
          <p:cNvPr id="5" name="object 5"/>
          <p:cNvSpPr txBox="1"/>
          <p:nvPr/>
        </p:nvSpPr>
        <p:spPr>
          <a:xfrm>
            <a:off x="7558634" y="2554142"/>
            <a:ext cx="4547616" cy="1801519"/>
          </a:xfrm>
          <a:prstGeom prst="rect">
            <a:avLst/>
          </a:prstGeom>
        </p:spPr>
        <p:txBody>
          <a:bodyPr vert="horz" wrap="square" lIns="0" tIns="117856" rIns="0" bIns="0" rtlCol="0">
            <a:spAutoFit/>
          </a:bodyPr>
          <a:lstStyle/>
          <a:p>
            <a:pPr marL="576072" indent="-556768">
              <a:spcBef>
                <a:spcPts val="928"/>
              </a:spcBef>
              <a:buClr>
                <a:srgbClr val="71B0D3"/>
              </a:buClr>
              <a:buChar char="•"/>
              <a:tabLst>
                <a:tab pos="576072" algn="l"/>
                <a:tab pos="577088" algn="l"/>
              </a:tabLst>
            </a:pPr>
            <a:r>
              <a:rPr sz="3200" spc="-8" dirty="0">
                <a:solidFill>
                  <a:srgbClr val="517AC6"/>
                </a:solidFill>
              </a:rPr>
              <a:t>Basic</a:t>
            </a:r>
            <a:endParaRPr sz="3200"/>
          </a:p>
          <a:p>
            <a:pPr marL="576072" indent="-556768">
              <a:spcBef>
                <a:spcPts val="768"/>
              </a:spcBef>
              <a:buClr>
                <a:srgbClr val="71B0D3"/>
              </a:buClr>
              <a:buChar char="•"/>
              <a:tabLst>
                <a:tab pos="576072" algn="l"/>
                <a:tab pos="577088" algn="l"/>
              </a:tabLst>
            </a:pPr>
            <a:r>
              <a:rPr sz="3200" spc="-8" dirty="0">
                <a:solidFill>
                  <a:srgbClr val="517AC6"/>
                </a:solidFill>
              </a:rPr>
              <a:t>Neonatal</a:t>
            </a:r>
            <a:r>
              <a:rPr sz="3200" dirty="0">
                <a:solidFill>
                  <a:srgbClr val="517AC6"/>
                </a:solidFill>
              </a:rPr>
              <a:t> </a:t>
            </a:r>
            <a:r>
              <a:rPr sz="3200" spc="-8" dirty="0">
                <a:solidFill>
                  <a:srgbClr val="517AC6"/>
                </a:solidFill>
              </a:rPr>
              <a:t>options</a:t>
            </a:r>
            <a:endParaRPr sz="3200"/>
          </a:p>
          <a:p>
            <a:pPr marL="576072" indent="-556768">
              <a:spcBef>
                <a:spcPts val="768"/>
              </a:spcBef>
              <a:buClr>
                <a:srgbClr val="71B0D3"/>
              </a:buClr>
              <a:buChar char="•"/>
              <a:tabLst>
                <a:tab pos="576072" algn="l"/>
                <a:tab pos="577088" algn="l"/>
              </a:tabLst>
            </a:pPr>
            <a:r>
              <a:rPr sz="3200" spc="-8" dirty="0">
                <a:solidFill>
                  <a:srgbClr val="517AC6"/>
                </a:solidFill>
              </a:rPr>
              <a:t>More solid gel</a:t>
            </a:r>
            <a:r>
              <a:rPr sz="3200" spc="-16" dirty="0">
                <a:solidFill>
                  <a:srgbClr val="517AC6"/>
                </a:solidFill>
              </a:rPr>
              <a:t> </a:t>
            </a:r>
            <a:r>
              <a:rPr sz="3200" spc="-8" dirty="0">
                <a:solidFill>
                  <a:srgbClr val="517AC6"/>
                </a:solidFill>
              </a:rPr>
              <a:t>options</a:t>
            </a:r>
            <a:endParaRPr sz="3200"/>
          </a:p>
        </p:txBody>
      </p:sp>
      <p:sp>
        <p:nvSpPr>
          <p:cNvPr id="6" name="object 6"/>
          <p:cNvSpPr/>
          <p:nvPr/>
        </p:nvSpPr>
        <p:spPr>
          <a:xfrm>
            <a:off x="5315712" y="5160873"/>
            <a:ext cx="1762963" cy="199461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7" name="object 7"/>
          <p:cNvSpPr/>
          <p:nvPr/>
        </p:nvSpPr>
        <p:spPr>
          <a:xfrm>
            <a:off x="12735763" y="5383986"/>
            <a:ext cx="1630070" cy="162641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8" name="object 8"/>
          <p:cNvSpPr txBox="1"/>
          <p:nvPr/>
        </p:nvSpPr>
        <p:spPr>
          <a:xfrm>
            <a:off x="8484818" y="7637661"/>
            <a:ext cx="3445256" cy="247247"/>
          </a:xfrm>
          <a:prstGeom prst="rect">
            <a:avLst/>
          </a:prstGeom>
        </p:spPr>
        <p:txBody>
          <a:bodyPr vert="horz" wrap="square" lIns="0" tIns="1016" rIns="0" bIns="0" rtlCol="0">
            <a:spAutoFit/>
          </a:bodyPr>
          <a:lstStyle/>
          <a:p>
            <a:pPr marL="20320">
              <a:spcBef>
                <a:spcPts val="8"/>
              </a:spcBef>
            </a:pPr>
            <a:r>
              <a:rPr sz="1600" b="1" dirty="0">
                <a:solidFill>
                  <a:srgbClr val="F1F1F1"/>
                </a:solidFill>
              </a:rPr>
              <a:t>CONFIDENTIAL – Internal Use</a:t>
            </a:r>
            <a:r>
              <a:rPr sz="1600" b="1" spc="-216" dirty="0">
                <a:solidFill>
                  <a:srgbClr val="F1F1F1"/>
                </a:solidFill>
              </a:rPr>
              <a:t> </a:t>
            </a:r>
            <a:r>
              <a:rPr sz="1600" b="1" dirty="0">
                <a:solidFill>
                  <a:srgbClr val="F1F1F1"/>
                </a:solidFill>
              </a:rPr>
              <a:t>Only</a:t>
            </a:r>
            <a:endParaRPr sz="1600"/>
          </a:p>
        </p:txBody>
      </p:sp>
    </p:spTree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57505" y="700170"/>
            <a:ext cx="2352040" cy="600164"/>
          </a:xfrm>
          <a:prstGeom prst="rect">
            <a:avLst/>
          </a:prstGeom>
        </p:spPr>
        <p:txBody>
          <a:bodyPr spcFirstLastPara="1" vert="horz" wrap="square" lIns="0" tIns="20320" rIns="0" bIns="0" rtlCol="0" anchor="ctr" anchorCtr="0">
            <a:spAutoFit/>
          </a:bodyPr>
          <a:lstStyle/>
          <a:p>
            <a:pPr marL="20320">
              <a:lnSpc>
                <a:spcPct val="100000"/>
              </a:lnSpc>
              <a:spcBef>
                <a:spcPts val="160"/>
              </a:spcBef>
            </a:pPr>
            <a:r>
              <a:rPr u="none" dirty="0"/>
              <a:t>Mater</a:t>
            </a:r>
            <a:r>
              <a:rPr spc="8" dirty="0"/>
              <a:t>i</a:t>
            </a:r>
            <a:r>
              <a:rPr u="none" dirty="0"/>
              <a:t>als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2503423" y="2825698"/>
            <a:ext cx="2207768" cy="625812"/>
          </a:xfrm>
          <a:prstGeom prst="rect">
            <a:avLst/>
          </a:prstGeom>
        </p:spPr>
        <p:txBody>
          <a:bodyPr vert="horz" wrap="square" lIns="0" tIns="86360" rIns="0" bIns="0" rtlCol="0">
            <a:spAutoFit/>
          </a:bodyPr>
          <a:lstStyle/>
          <a:p>
            <a:pPr marL="576072" marR="8128" indent="-556768">
              <a:lnSpc>
                <a:spcPts val="2144"/>
              </a:lnSpc>
              <a:spcBef>
                <a:spcPts val="680"/>
              </a:spcBef>
              <a:buClr>
                <a:srgbClr val="71B0D3"/>
              </a:buClr>
              <a:buChar char="•"/>
              <a:tabLst>
                <a:tab pos="576072" algn="l"/>
                <a:tab pos="577088" algn="l"/>
              </a:tabLst>
            </a:pPr>
            <a:r>
              <a:rPr sz="2240" spc="-8" dirty="0">
                <a:solidFill>
                  <a:srgbClr val="517AC6"/>
                </a:solidFill>
              </a:rPr>
              <a:t>Silvertrace</a:t>
            </a:r>
            <a:r>
              <a:rPr sz="2240" spc="-104" dirty="0">
                <a:solidFill>
                  <a:srgbClr val="517AC6"/>
                </a:solidFill>
              </a:rPr>
              <a:t> </a:t>
            </a:r>
            <a:r>
              <a:rPr sz="2240" spc="-8" dirty="0">
                <a:solidFill>
                  <a:srgbClr val="517AC6"/>
                </a:solidFill>
              </a:rPr>
              <a:t>&amp;  </a:t>
            </a:r>
            <a:r>
              <a:rPr sz="2240" spc="-8" dirty="0" err="1">
                <a:solidFill>
                  <a:srgbClr val="517AC6"/>
                </a:solidFill>
              </a:rPr>
              <a:t>VitalSigns</a:t>
            </a:r>
            <a:endParaRPr sz="2240" dirty="0"/>
          </a:p>
        </p:txBody>
      </p:sp>
      <p:sp>
        <p:nvSpPr>
          <p:cNvPr id="4" name="object 4"/>
          <p:cNvSpPr txBox="1"/>
          <p:nvPr/>
        </p:nvSpPr>
        <p:spPr>
          <a:xfrm>
            <a:off x="7529374" y="2809848"/>
            <a:ext cx="2557272" cy="767390"/>
          </a:xfrm>
          <a:prstGeom prst="rect">
            <a:avLst/>
          </a:prstGeom>
        </p:spPr>
        <p:txBody>
          <a:bodyPr vert="horz" wrap="square" lIns="0" tIns="99568" rIns="0" bIns="0" rtlCol="0">
            <a:spAutoFit/>
          </a:bodyPr>
          <a:lstStyle/>
          <a:p>
            <a:pPr marL="576072" marR="8128" indent="-556768">
              <a:lnSpc>
                <a:spcPts val="2608"/>
              </a:lnSpc>
              <a:spcBef>
                <a:spcPts val="784"/>
              </a:spcBef>
              <a:buClr>
                <a:srgbClr val="71B0D3"/>
              </a:buClr>
              <a:buChar char="•"/>
              <a:tabLst>
                <a:tab pos="576072" algn="l"/>
                <a:tab pos="577088" algn="l"/>
              </a:tabLst>
            </a:pPr>
            <a:r>
              <a:rPr sz="2240" spc="-8" dirty="0">
                <a:solidFill>
                  <a:srgbClr val="517AC6"/>
                </a:solidFill>
              </a:rPr>
              <a:t>Silvertrace</a:t>
            </a:r>
            <a:r>
              <a:rPr sz="2240" spc="-56" dirty="0">
                <a:solidFill>
                  <a:srgbClr val="517AC6"/>
                </a:solidFill>
              </a:rPr>
              <a:t> </a:t>
            </a:r>
            <a:r>
              <a:rPr sz="2240" spc="-8" dirty="0">
                <a:solidFill>
                  <a:srgbClr val="517AC6"/>
                </a:solidFill>
              </a:rPr>
              <a:t>&amp;  </a:t>
            </a:r>
            <a:r>
              <a:rPr sz="2240" spc="-8" dirty="0" err="1">
                <a:solidFill>
                  <a:srgbClr val="517AC6"/>
                </a:solidFill>
              </a:rPr>
              <a:t>VitalSigns</a:t>
            </a:r>
            <a:endParaRPr sz="2240" dirty="0"/>
          </a:p>
        </p:txBody>
      </p:sp>
      <p:sp>
        <p:nvSpPr>
          <p:cNvPr id="5" name="object 5"/>
          <p:cNvSpPr/>
          <p:nvPr/>
        </p:nvSpPr>
        <p:spPr>
          <a:xfrm>
            <a:off x="4923128" y="4572000"/>
            <a:ext cx="2367686" cy="237744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6" name="object 6"/>
          <p:cNvSpPr/>
          <p:nvPr/>
        </p:nvSpPr>
        <p:spPr>
          <a:xfrm>
            <a:off x="4907280" y="2092147"/>
            <a:ext cx="2383536" cy="237743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7" name="object 7"/>
          <p:cNvSpPr/>
          <p:nvPr/>
        </p:nvSpPr>
        <p:spPr>
          <a:xfrm>
            <a:off x="10221773" y="2011680"/>
            <a:ext cx="2365248" cy="237744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8" name="object 8"/>
          <p:cNvSpPr/>
          <p:nvPr/>
        </p:nvSpPr>
        <p:spPr>
          <a:xfrm>
            <a:off x="10160813" y="4657342"/>
            <a:ext cx="2426208" cy="237744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9" name="object 9"/>
          <p:cNvSpPr txBox="1"/>
          <p:nvPr/>
        </p:nvSpPr>
        <p:spPr>
          <a:xfrm>
            <a:off x="2503423" y="4238941"/>
            <a:ext cx="2658767" cy="365228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20320">
              <a:spcBef>
                <a:spcPts val="160"/>
              </a:spcBef>
            </a:pPr>
            <a:r>
              <a:rPr sz="2240" b="1" spc="-8" dirty="0">
                <a:solidFill>
                  <a:srgbClr val="517AC6"/>
                </a:solidFill>
              </a:rPr>
              <a:t>Clear</a:t>
            </a:r>
            <a:r>
              <a:rPr sz="2240" b="1" spc="-88" dirty="0">
                <a:solidFill>
                  <a:srgbClr val="517AC6"/>
                </a:solidFill>
              </a:rPr>
              <a:t> </a:t>
            </a:r>
            <a:r>
              <a:rPr sz="2240" b="1" spc="-48" dirty="0">
                <a:solidFill>
                  <a:srgbClr val="517AC6"/>
                </a:solidFill>
              </a:rPr>
              <a:t>Tape</a:t>
            </a:r>
            <a:endParaRPr sz="2240" b="1" dirty="0"/>
          </a:p>
        </p:txBody>
      </p:sp>
      <p:sp>
        <p:nvSpPr>
          <p:cNvPr id="13" name="object 13"/>
          <p:cNvSpPr txBox="1"/>
          <p:nvPr/>
        </p:nvSpPr>
        <p:spPr>
          <a:xfrm>
            <a:off x="8484818" y="7637661"/>
            <a:ext cx="3445256" cy="247247"/>
          </a:xfrm>
          <a:prstGeom prst="rect">
            <a:avLst/>
          </a:prstGeom>
        </p:spPr>
        <p:txBody>
          <a:bodyPr vert="horz" wrap="square" lIns="0" tIns="1016" rIns="0" bIns="0" rtlCol="0">
            <a:spAutoFit/>
          </a:bodyPr>
          <a:lstStyle/>
          <a:p>
            <a:pPr marL="20320">
              <a:spcBef>
                <a:spcPts val="8"/>
              </a:spcBef>
            </a:pPr>
            <a:r>
              <a:rPr sz="1600" b="1" dirty="0">
                <a:solidFill>
                  <a:srgbClr val="F1F1F1"/>
                </a:solidFill>
              </a:rPr>
              <a:t>CONFIDENTIAL – Internal Use</a:t>
            </a:r>
            <a:r>
              <a:rPr sz="1600" b="1" spc="-216" dirty="0">
                <a:solidFill>
                  <a:srgbClr val="F1F1F1"/>
                </a:solidFill>
              </a:rPr>
              <a:t> </a:t>
            </a:r>
            <a:r>
              <a:rPr sz="1600" b="1" dirty="0">
                <a:solidFill>
                  <a:srgbClr val="F1F1F1"/>
                </a:solidFill>
              </a:rPr>
              <a:t>Only</a:t>
            </a:r>
            <a:endParaRPr sz="1600"/>
          </a:p>
        </p:txBody>
      </p:sp>
      <p:sp>
        <p:nvSpPr>
          <p:cNvPr id="10" name="object 10"/>
          <p:cNvSpPr txBox="1"/>
          <p:nvPr/>
        </p:nvSpPr>
        <p:spPr>
          <a:xfrm>
            <a:off x="2620061" y="4812590"/>
            <a:ext cx="2206752" cy="640814"/>
          </a:xfrm>
          <a:prstGeom prst="rect">
            <a:avLst/>
          </a:prstGeom>
        </p:spPr>
        <p:txBody>
          <a:bodyPr vert="horz" wrap="square" lIns="0" tIns="88390" rIns="0" bIns="0" rtlCol="0">
            <a:spAutoFit/>
          </a:bodyPr>
          <a:lstStyle/>
          <a:p>
            <a:pPr marL="576072" marR="8128" indent="-556768">
              <a:lnSpc>
                <a:spcPct val="80000"/>
              </a:lnSpc>
              <a:spcBef>
                <a:spcPts val="694"/>
              </a:spcBef>
              <a:buClr>
                <a:srgbClr val="71B0D3"/>
              </a:buClr>
              <a:buChar char="•"/>
              <a:tabLst>
                <a:tab pos="576072" algn="l"/>
                <a:tab pos="577088" algn="l"/>
              </a:tabLst>
            </a:pPr>
            <a:r>
              <a:rPr sz="2240" spc="-8" dirty="0">
                <a:solidFill>
                  <a:srgbClr val="517AC6"/>
                </a:solidFill>
              </a:rPr>
              <a:t>Silvertrace</a:t>
            </a:r>
            <a:r>
              <a:rPr sz="2240" spc="-104" dirty="0">
                <a:solidFill>
                  <a:srgbClr val="517AC6"/>
                </a:solidFill>
              </a:rPr>
              <a:t> </a:t>
            </a:r>
            <a:r>
              <a:rPr sz="2240" spc="-8" dirty="0">
                <a:solidFill>
                  <a:srgbClr val="517AC6"/>
                </a:solidFill>
              </a:rPr>
              <a:t>&amp;  </a:t>
            </a:r>
            <a:r>
              <a:rPr sz="2240" spc="-8" dirty="0" err="1">
                <a:solidFill>
                  <a:srgbClr val="517AC6"/>
                </a:solidFill>
              </a:rPr>
              <a:t>VitalSigns</a:t>
            </a:r>
            <a:endParaRPr sz="2240" dirty="0"/>
          </a:p>
        </p:txBody>
      </p:sp>
      <p:sp>
        <p:nvSpPr>
          <p:cNvPr id="11" name="object 11"/>
          <p:cNvSpPr txBox="1"/>
          <p:nvPr/>
        </p:nvSpPr>
        <p:spPr>
          <a:xfrm>
            <a:off x="7645603" y="4344294"/>
            <a:ext cx="2961437" cy="948465"/>
          </a:xfrm>
          <a:prstGeom prst="rect">
            <a:avLst/>
          </a:prstGeom>
        </p:spPr>
        <p:txBody>
          <a:bodyPr vert="horz" wrap="square" lIns="0" tIns="117856" rIns="0" bIns="0" rtlCol="0">
            <a:spAutoFit/>
          </a:bodyPr>
          <a:lstStyle/>
          <a:p>
            <a:pPr marL="20320">
              <a:spcBef>
                <a:spcPts val="928"/>
              </a:spcBef>
            </a:pPr>
            <a:r>
              <a:rPr sz="2240" b="1" spc="-8" dirty="0">
                <a:solidFill>
                  <a:srgbClr val="517AC6"/>
                </a:solidFill>
              </a:rPr>
              <a:t>Microporous</a:t>
            </a:r>
            <a:r>
              <a:rPr sz="2240" b="1" spc="-56" dirty="0">
                <a:solidFill>
                  <a:srgbClr val="517AC6"/>
                </a:solidFill>
              </a:rPr>
              <a:t> </a:t>
            </a:r>
            <a:r>
              <a:rPr sz="2240" b="1" spc="-48" dirty="0">
                <a:solidFill>
                  <a:srgbClr val="517AC6"/>
                </a:solidFill>
              </a:rPr>
              <a:t>Tape</a:t>
            </a:r>
            <a:endParaRPr sz="2240" b="1" dirty="0"/>
          </a:p>
          <a:p>
            <a:pPr marL="576072" indent="-556768">
              <a:spcBef>
                <a:spcPts val="856"/>
              </a:spcBef>
              <a:buClr>
                <a:srgbClr val="71B0D3"/>
              </a:buClr>
              <a:buChar char="•"/>
              <a:tabLst>
                <a:tab pos="576072" algn="l"/>
                <a:tab pos="577088" algn="l"/>
              </a:tabLst>
            </a:pPr>
            <a:r>
              <a:rPr sz="2400" spc="-16" dirty="0">
                <a:solidFill>
                  <a:srgbClr val="517AC6"/>
                </a:solidFill>
              </a:rPr>
              <a:t>SilverTrace</a:t>
            </a:r>
            <a:endParaRPr sz="2400" dirty="0"/>
          </a:p>
        </p:txBody>
      </p:sp>
      <p:sp>
        <p:nvSpPr>
          <p:cNvPr id="12" name="object 12"/>
          <p:cNvSpPr txBox="1"/>
          <p:nvPr/>
        </p:nvSpPr>
        <p:spPr>
          <a:xfrm>
            <a:off x="2503423" y="1502055"/>
            <a:ext cx="6001512" cy="1288558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692912" indent="-556768">
              <a:spcBef>
                <a:spcPts val="160"/>
              </a:spcBef>
              <a:buClr>
                <a:srgbClr val="71B0D3"/>
              </a:buClr>
              <a:buChar char="•"/>
              <a:tabLst>
                <a:tab pos="691894" algn="l"/>
                <a:tab pos="692912" algn="l"/>
              </a:tabLst>
            </a:pPr>
            <a:r>
              <a:rPr sz="2400" dirty="0">
                <a:solidFill>
                  <a:srgbClr val="517AC6"/>
                </a:solidFill>
              </a:rPr>
              <a:t>Customer </a:t>
            </a:r>
            <a:r>
              <a:rPr sz="2400" spc="-8" dirty="0">
                <a:solidFill>
                  <a:srgbClr val="517AC6"/>
                </a:solidFill>
              </a:rPr>
              <a:t>preference </a:t>
            </a:r>
            <a:r>
              <a:rPr sz="2400" dirty="0">
                <a:solidFill>
                  <a:srgbClr val="517AC6"/>
                </a:solidFill>
              </a:rPr>
              <a:t>&amp;</a:t>
            </a:r>
            <a:r>
              <a:rPr sz="2400" spc="8" dirty="0">
                <a:solidFill>
                  <a:srgbClr val="517AC6"/>
                </a:solidFill>
              </a:rPr>
              <a:t> </a:t>
            </a:r>
            <a:r>
              <a:rPr sz="2400" spc="-8" dirty="0">
                <a:solidFill>
                  <a:srgbClr val="517AC6"/>
                </a:solidFill>
              </a:rPr>
              <a:t>environment</a:t>
            </a:r>
            <a:endParaRPr sz="2400" dirty="0"/>
          </a:p>
          <a:p>
            <a:pPr>
              <a:spcBef>
                <a:spcPts val="48"/>
              </a:spcBef>
            </a:pPr>
            <a:endParaRPr sz="2960" dirty="0"/>
          </a:p>
          <a:p>
            <a:pPr marL="20320">
              <a:tabLst>
                <a:tab pos="5045456" algn="l"/>
              </a:tabLst>
            </a:pPr>
            <a:r>
              <a:rPr sz="2560" b="1" dirty="0">
                <a:solidFill>
                  <a:srgbClr val="517AC6"/>
                </a:solidFill>
              </a:rPr>
              <a:t>Foam</a:t>
            </a:r>
            <a:r>
              <a:rPr sz="2880" b="1" dirty="0">
                <a:solidFill>
                  <a:srgbClr val="517AC6"/>
                </a:solidFill>
              </a:rPr>
              <a:t>	</a:t>
            </a:r>
            <a:r>
              <a:rPr sz="2560" b="1" dirty="0">
                <a:solidFill>
                  <a:srgbClr val="517AC6"/>
                </a:solidFill>
              </a:rPr>
              <a:t>Cloth</a:t>
            </a:r>
            <a:endParaRPr sz="2560" dirty="0"/>
          </a:p>
        </p:txBody>
      </p:sp>
    </p:spTree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877824" y="638048"/>
            <a:ext cx="13142976" cy="4415568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>
              <a:lnSpc>
                <a:spcPts val="5312"/>
              </a:lnSpc>
              <a:spcBef>
                <a:spcPts val="160"/>
              </a:spcBef>
            </a:pPr>
            <a:r>
              <a:rPr sz="4480" dirty="0">
                <a:solidFill>
                  <a:srgbClr val="172F75"/>
                </a:solidFill>
              </a:rPr>
              <a:t>Gel</a:t>
            </a:r>
            <a:endParaRPr sz="4480" dirty="0"/>
          </a:p>
          <a:p>
            <a:pPr marL="1091184" marR="302768" indent="-556768">
              <a:lnSpc>
                <a:spcPts val="4144"/>
              </a:lnSpc>
              <a:spcBef>
                <a:spcPts val="464"/>
              </a:spcBef>
              <a:buClr>
                <a:srgbClr val="71B0D3"/>
              </a:buClr>
              <a:buChar char="•"/>
              <a:tabLst>
                <a:tab pos="1091184" algn="l"/>
                <a:tab pos="1092200" algn="l"/>
              </a:tabLst>
            </a:pPr>
            <a:r>
              <a:rPr sz="3200" spc="-8" dirty="0">
                <a:solidFill>
                  <a:srgbClr val="517AC6"/>
                </a:solidFill>
              </a:rPr>
              <a:t>Customers generally prefer one gel or  another</a:t>
            </a:r>
            <a:endParaRPr sz="3200" dirty="0"/>
          </a:p>
          <a:p>
            <a:pPr marL="1091184" marR="8128" indent="-556768">
              <a:lnSpc>
                <a:spcPts val="4144"/>
              </a:lnSpc>
              <a:spcBef>
                <a:spcPts val="928"/>
              </a:spcBef>
              <a:buClr>
                <a:srgbClr val="71B0D3"/>
              </a:buClr>
              <a:buChar char="•"/>
              <a:tabLst>
                <a:tab pos="1091184" algn="l"/>
                <a:tab pos="1092200" algn="l"/>
                <a:tab pos="3369056" algn="l"/>
              </a:tabLst>
            </a:pPr>
            <a:r>
              <a:rPr sz="3200" dirty="0">
                <a:solidFill>
                  <a:srgbClr val="517AC6"/>
                </a:solidFill>
              </a:rPr>
              <a:t>Solid</a:t>
            </a:r>
            <a:r>
              <a:rPr sz="3200" spc="8" dirty="0">
                <a:solidFill>
                  <a:srgbClr val="517AC6"/>
                </a:solidFill>
              </a:rPr>
              <a:t> </a:t>
            </a:r>
            <a:r>
              <a:rPr sz="3200" spc="-8" dirty="0">
                <a:solidFill>
                  <a:srgbClr val="517AC6"/>
                </a:solidFill>
              </a:rPr>
              <a:t>gel:	</a:t>
            </a:r>
            <a:r>
              <a:rPr sz="3200" dirty="0">
                <a:solidFill>
                  <a:srgbClr val="517AC6"/>
                </a:solidFill>
              </a:rPr>
              <a:t>“Less mess”, </a:t>
            </a:r>
            <a:r>
              <a:rPr sz="3200" spc="-8" dirty="0">
                <a:solidFill>
                  <a:srgbClr val="517AC6"/>
                </a:solidFill>
              </a:rPr>
              <a:t>easy </a:t>
            </a:r>
            <a:r>
              <a:rPr sz="3200" dirty="0">
                <a:solidFill>
                  <a:srgbClr val="517AC6"/>
                </a:solidFill>
              </a:rPr>
              <a:t>to </a:t>
            </a:r>
            <a:r>
              <a:rPr sz="3200" spc="-56" dirty="0">
                <a:solidFill>
                  <a:srgbClr val="517AC6"/>
                </a:solidFill>
              </a:rPr>
              <a:t>apply,  </a:t>
            </a:r>
            <a:r>
              <a:rPr sz="3200" spc="-8" dirty="0">
                <a:solidFill>
                  <a:srgbClr val="517AC6"/>
                </a:solidFill>
              </a:rPr>
              <a:t>needs “warm up” on </a:t>
            </a:r>
            <a:r>
              <a:rPr sz="3200" dirty="0">
                <a:solidFill>
                  <a:srgbClr val="517AC6"/>
                </a:solidFill>
              </a:rPr>
              <a:t>skin for </a:t>
            </a:r>
            <a:r>
              <a:rPr sz="3200" spc="-8" dirty="0">
                <a:solidFill>
                  <a:srgbClr val="517AC6"/>
                </a:solidFill>
              </a:rPr>
              <a:t>good</a:t>
            </a:r>
            <a:r>
              <a:rPr sz="3200" spc="-16" dirty="0">
                <a:solidFill>
                  <a:srgbClr val="517AC6"/>
                </a:solidFill>
              </a:rPr>
              <a:t> </a:t>
            </a:r>
            <a:r>
              <a:rPr sz="3200" spc="-8" dirty="0">
                <a:solidFill>
                  <a:srgbClr val="517AC6"/>
                </a:solidFill>
              </a:rPr>
              <a:t>trace</a:t>
            </a:r>
            <a:endParaRPr sz="3200" dirty="0"/>
          </a:p>
          <a:p>
            <a:pPr marL="1091184" marR="33528" indent="-556768">
              <a:lnSpc>
                <a:spcPts val="4144"/>
              </a:lnSpc>
              <a:spcBef>
                <a:spcPts val="928"/>
              </a:spcBef>
              <a:buClr>
                <a:srgbClr val="71B0D3"/>
              </a:buClr>
              <a:buChar char="•"/>
              <a:tabLst>
                <a:tab pos="1091184" algn="l"/>
                <a:tab pos="1092200" algn="l"/>
              </a:tabLst>
            </a:pPr>
            <a:r>
              <a:rPr sz="3200" spc="-24" dirty="0">
                <a:solidFill>
                  <a:srgbClr val="517AC6"/>
                </a:solidFill>
              </a:rPr>
              <a:t>Wet </a:t>
            </a:r>
            <a:r>
              <a:rPr sz="3200" spc="-8" dirty="0">
                <a:solidFill>
                  <a:srgbClr val="517AC6"/>
                </a:solidFill>
              </a:rPr>
              <a:t>gel: </a:t>
            </a:r>
            <a:r>
              <a:rPr sz="3200" dirty="0">
                <a:solidFill>
                  <a:srgbClr val="517AC6"/>
                </a:solidFill>
              </a:rPr>
              <a:t>Quick </a:t>
            </a:r>
            <a:r>
              <a:rPr sz="3200" spc="-8" dirty="0">
                <a:solidFill>
                  <a:srgbClr val="517AC6"/>
                </a:solidFill>
              </a:rPr>
              <a:t>trace more </a:t>
            </a:r>
            <a:r>
              <a:rPr sz="3200" spc="-32" dirty="0">
                <a:solidFill>
                  <a:srgbClr val="517AC6"/>
                </a:solidFill>
              </a:rPr>
              <a:t>immediately,  </a:t>
            </a:r>
            <a:r>
              <a:rPr sz="3200" spc="-8" dirty="0">
                <a:solidFill>
                  <a:srgbClr val="517AC6"/>
                </a:solidFill>
              </a:rPr>
              <a:t>quality trace, “more</a:t>
            </a:r>
            <a:r>
              <a:rPr sz="3200" spc="16" dirty="0">
                <a:solidFill>
                  <a:srgbClr val="517AC6"/>
                </a:solidFill>
              </a:rPr>
              <a:t> </a:t>
            </a:r>
            <a:r>
              <a:rPr sz="3200" dirty="0">
                <a:solidFill>
                  <a:srgbClr val="517AC6"/>
                </a:solidFill>
              </a:rPr>
              <a:t>mess”</a:t>
            </a:r>
            <a:endParaRPr sz="3200" dirty="0"/>
          </a:p>
          <a:p>
            <a:pPr>
              <a:spcBef>
                <a:spcPts val="40"/>
              </a:spcBef>
            </a:pPr>
            <a:endParaRPr sz="4720" dirty="0"/>
          </a:p>
          <a:p>
            <a:pPr marL="535432">
              <a:spcBef>
                <a:spcPts val="8"/>
              </a:spcBef>
              <a:tabLst>
                <a:tab pos="6387592" algn="l"/>
              </a:tabLst>
            </a:pPr>
            <a:r>
              <a:rPr sz="3840" spc="-8" dirty="0">
                <a:solidFill>
                  <a:srgbClr val="517AC6"/>
                </a:solidFill>
              </a:rPr>
              <a:t>Solid</a:t>
            </a:r>
            <a:r>
              <a:rPr sz="3840" spc="16" dirty="0">
                <a:solidFill>
                  <a:srgbClr val="517AC6"/>
                </a:solidFill>
              </a:rPr>
              <a:t> </a:t>
            </a:r>
            <a:r>
              <a:rPr sz="3840" dirty="0">
                <a:solidFill>
                  <a:srgbClr val="517AC6"/>
                </a:solidFill>
              </a:rPr>
              <a:t>Gel	</a:t>
            </a:r>
            <a:r>
              <a:rPr sz="3840" spc="-24" dirty="0">
                <a:solidFill>
                  <a:srgbClr val="517AC6"/>
                </a:solidFill>
              </a:rPr>
              <a:t>Wet</a:t>
            </a:r>
            <a:r>
              <a:rPr sz="3840" spc="-32" dirty="0">
                <a:solidFill>
                  <a:srgbClr val="517AC6"/>
                </a:solidFill>
              </a:rPr>
              <a:t> </a:t>
            </a:r>
            <a:r>
              <a:rPr sz="3840" spc="-8" dirty="0">
                <a:solidFill>
                  <a:srgbClr val="517AC6"/>
                </a:solidFill>
              </a:rPr>
              <a:t>gel</a:t>
            </a:r>
            <a:endParaRPr sz="3840" dirty="0"/>
          </a:p>
        </p:txBody>
      </p:sp>
      <p:sp>
        <p:nvSpPr>
          <p:cNvPr id="3" name="object 3"/>
          <p:cNvSpPr/>
          <p:nvPr/>
        </p:nvSpPr>
        <p:spPr>
          <a:xfrm>
            <a:off x="3739287" y="5420563"/>
            <a:ext cx="3474718" cy="280903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4" name="object 4"/>
          <p:cNvSpPr/>
          <p:nvPr/>
        </p:nvSpPr>
        <p:spPr>
          <a:xfrm>
            <a:off x="9306154" y="3568597"/>
            <a:ext cx="5324245" cy="370393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5" name="object 5"/>
          <p:cNvSpPr/>
          <p:nvPr/>
        </p:nvSpPr>
        <p:spPr>
          <a:xfrm>
            <a:off x="8514894" y="5207203"/>
            <a:ext cx="1424024" cy="1488643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6" name="object 6"/>
          <p:cNvSpPr/>
          <p:nvPr/>
        </p:nvSpPr>
        <p:spPr>
          <a:xfrm>
            <a:off x="8581338" y="5421174"/>
            <a:ext cx="1112520" cy="1177544"/>
          </a:xfrm>
          <a:custGeom>
            <a:avLst/>
            <a:gdLst/>
            <a:ahLst/>
            <a:cxnLst/>
            <a:rect l="l" t="t" r="r" b="b"/>
            <a:pathLst>
              <a:path w="695325" h="735964">
                <a:moveTo>
                  <a:pt x="660723" y="36297"/>
                </a:moveTo>
                <a:lnTo>
                  <a:pt x="636729" y="43358"/>
                </a:lnTo>
                <a:lnTo>
                  <a:pt x="0" y="718159"/>
                </a:lnTo>
                <a:lnTo>
                  <a:pt x="18287" y="735418"/>
                </a:lnTo>
                <a:lnTo>
                  <a:pt x="655138" y="60381"/>
                </a:lnTo>
                <a:lnTo>
                  <a:pt x="660723" y="36297"/>
                </a:lnTo>
                <a:close/>
              </a:path>
              <a:path w="695325" h="735964">
                <a:moveTo>
                  <a:pt x="692738" y="9525"/>
                </a:moveTo>
                <a:lnTo>
                  <a:pt x="668654" y="9525"/>
                </a:lnTo>
                <a:lnTo>
                  <a:pt x="686942" y="26670"/>
                </a:lnTo>
                <a:lnTo>
                  <a:pt x="655138" y="60381"/>
                </a:lnTo>
                <a:lnTo>
                  <a:pt x="645667" y="101219"/>
                </a:lnTo>
                <a:lnTo>
                  <a:pt x="644016" y="107950"/>
                </a:lnTo>
                <a:lnTo>
                  <a:pt x="648335" y="114681"/>
                </a:lnTo>
                <a:lnTo>
                  <a:pt x="655065" y="116332"/>
                </a:lnTo>
                <a:lnTo>
                  <a:pt x="661797" y="117856"/>
                </a:lnTo>
                <a:lnTo>
                  <a:pt x="668527" y="113665"/>
                </a:lnTo>
                <a:lnTo>
                  <a:pt x="670178" y="106934"/>
                </a:lnTo>
                <a:lnTo>
                  <a:pt x="692738" y="9525"/>
                </a:lnTo>
                <a:close/>
              </a:path>
              <a:path w="695325" h="735964">
                <a:moveTo>
                  <a:pt x="674751" y="15240"/>
                </a:moveTo>
                <a:lnTo>
                  <a:pt x="665607" y="15240"/>
                </a:lnTo>
                <a:lnTo>
                  <a:pt x="681354" y="30226"/>
                </a:lnTo>
                <a:lnTo>
                  <a:pt x="660723" y="36297"/>
                </a:lnTo>
                <a:lnTo>
                  <a:pt x="655138" y="60381"/>
                </a:lnTo>
                <a:lnTo>
                  <a:pt x="686942" y="26670"/>
                </a:lnTo>
                <a:lnTo>
                  <a:pt x="674751" y="15240"/>
                </a:lnTo>
                <a:close/>
              </a:path>
              <a:path w="695325" h="735964">
                <a:moveTo>
                  <a:pt x="694943" y="0"/>
                </a:moveTo>
                <a:lnTo>
                  <a:pt x="583057" y="32893"/>
                </a:lnTo>
                <a:lnTo>
                  <a:pt x="579247" y="39878"/>
                </a:lnTo>
                <a:lnTo>
                  <a:pt x="581151" y="46609"/>
                </a:lnTo>
                <a:lnTo>
                  <a:pt x="583184" y="53213"/>
                </a:lnTo>
                <a:lnTo>
                  <a:pt x="590168" y="57023"/>
                </a:lnTo>
                <a:lnTo>
                  <a:pt x="636729" y="43358"/>
                </a:lnTo>
                <a:lnTo>
                  <a:pt x="668654" y="9525"/>
                </a:lnTo>
                <a:lnTo>
                  <a:pt x="692738" y="9525"/>
                </a:lnTo>
                <a:lnTo>
                  <a:pt x="694943" y="0"/>
                </a:lnTo>
                <a:close/>
              </a:path>
              <a:path w="695325" h="735964">
                <a:moveTo>
                  <a:pt x="668654" y="9525"/>
                </a:moveTo>
                <a:lnTo>
                  <a:pt x="636729" y="43358"/>
                </a:lnTo>
                <a:lnTo>
                  <a:pt x="660723" y="36297"/>
                </a:lnTo>
                <a:lnTo>
                  <a:pt x="665607" y="15240"/>
                </a:lnTo>
                <a:lnTo>
                  <a:pt x="674751" y="15240"/>
                </a:lnTo>
                <a:lnTo>
                  <a:pt x="668654" y="9525"/>
                </a:lnTo>
                <a:close/>
              </a:path>
              <a:path w="695325" h="735964">
                <a:moveTo>
                  <a:pt x="665607" y="15240"/>
                </a:moveTo>
                <a:lnTo>
                  <a:pt x="660723" y="36297"/>
                </a:lnTo>
                <a:lnTo>
                  <a:pt x="681354" y="30226"/>
                </a:lnTo>
                <a:lnTo>
                  <a:pt x="665607" y="15240"/>
                </a:lnTo>
                <a:close/>
              </a:path>
            </a:pathLst>
          </a:custGeom>
          <a:solidFill>
            <a:srgbClr val="71B0D3"/>
          </a:solid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7" name="object 7"/>
          <p:cNvSpPr txBox="1"/>
          <p:nvPr/>
        </p:nvSpPr>
        <p:spPr>
          <a:xfrm>
            <a:off x="7624470" y="6629604"/>
            <a:ext cx="940816" cy="352917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20320">
              <a:spcBef>
                <a:spcPts val="160"/>
              </a:spcBef>
            </a:pPr>
            <a:r>
              <a:rPr sz="2160" dirty="0">
                <a:solidFill>
                  <a:srgbClr val="0C1524"/>
                </a:solidFill>
              </a:rPr>
              <a:t>spon</a:t>
            </a:r>
            <a:r>
              <a:rPr sz="2160" spc="-16" dirty="0">
                <a:solidFill>
                  <a:srgbClr val="0C1524"/>
                </a:solidFill>
              </a:rPr>
              <a:t>g</a:t>
            </a:r>
            <a:r>
              <a:rPr sz="2160" dirty="0">
                <a:solidFill>
                  <a:srgbClr val="0C1524"/>
                </a:solidFill>
              </a:rPr>
              <a:t>e</a:t>
            </a:r>
            <a:endParaRPr sz="2160"/>
          </a:p>
        </p:txBody>
      </p:sp>
      <p:sp>
        <p:nvSpPr>
          <p:cNvPr id="8" name="object 8"/>
          <p:cNvSpPr txBox="1"/>
          <p:nvPr/>
        </p:nvSpPr>
        <p:spPr>
          <a:xfrm>
            <a:off x="8484818" y="7637661"/>
            <a:ext cx="3445256" cy="247247"/>
          </a:xfrm>
          <a:prstGeom prst="rect">
            <a:avLst/>
          </a:prstGeom>
        </p:spPr>
        <p:txBody>
          <a:bodyPr vert="horz" wrap="square" lIns="0" tIns="1016" rIns="0" bIns="0" rtlCol="0">
            <a:spAutoFit/>
          </a:bodyPr>
          <a:lstStyle/>
          <a:p>
            <a:pPr marL="20320">
              <a:spcBef>
                <a:spcPts val="8"/>
              </a:spcBef>
            </a:pPr>
            <a:r>
              <a:rPr sz="1600" b="1" dirty="0">
                <a:solidFill>
                  <a:srgbClr val="F1F1F1"/>
                </a:solidFill>
              </a:rPr>
              <a:t>CONFIDENTIAL – Internal Use</a:t>
            </a:r>
            <a:r>
              <a:rPr sz="1600" b="1" spc="-216" dirty="0">
                <a:solidFill>
                  <a:srgbClr val="F1F1F1"/>
                </a:solidFill>
              </a:rPr>
              <a:t> </a:t>
            </a:r>
            <a:r>
              <a:rPr sz="1600" b="1" dirty="0">
                <a:solidFill>
                  <a:srgbClr val="F1F1F1"/>
                </a:solidFill>
              </a:rPr>
              <a:t>Only</a:t>
            </a:r>
            <a:endParaRPr sz="1600"/>
          </a:p>
        </p:txBody>
      </p:sp>
    </p:spTree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524150" y="341018"/>
            <a:ext cx="7514336" cy="661720"/>
          </a:xfrm>
          <a:prstGeom prst="rect">
            <a:avLst/>
          </a:prstGeom>
        </p:spPr>
        <p:txBody>
          <a:bodyPr spcFirstLastPara="1" vert="horz" wrap="square" lIns="0" tIns="20320" rIns="0" bIns="0" rtlCol="0" anchor="ctr" anchorCtr="0">
            <a:spAutoFit/>
          </a:bodyPr>
          <a:lstStyle/>
          <a:p>
            <a:pPr marL="20320">
              <a:lnSpc>
                <a:spcPct val="100000"/>
              </a:lnSpc>
              <a:spcBef>
                <a:spcPts val="160"/>
              </a:spcBef>
            </a:pPr>
            <a:r>
              <a:rPr sz="4000" dirty="0"/>
              <a:t>Size – need </a:t>
            </a:r>
            <a:r>
              <a:rPr sz="4000" spc="-8" dirty="0"/>
              <a:t>different </a:t>
            </a:r>
            <a:r>
              <a:rPr sz="4000" dirty="0"/>
              <a:t>size</a:t>
            </a:r>
            <a:r>
              <a:rPr sz="4000" spc="-182" dirty="0"/>
              <a:t> </a:t>
            </a:r>
            <a:r>
              <a:rPr sz="4000" dirty="0"/>
              <a:t>options</a:t>
            </a:r>
            <a:endParaRPr sz="4000"/>
          </a:p>
        </p:txBody>
      </p:sp>
      <p:sp>
        <p:nvSpPr>
          <p:cNvPr id="3" name="object 3"/>
          <p:cNvSpPr txBox="1"/>
          <p:nvPr/>
        </p:nvSpPr>
        <p:spPr>
          <a:xfrm>
            <a:off x="2503421" y="1594306"/>
            <a:ext cx="10907778" cy="2854628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576072" marR="361696" indent="-556768">
              <a:spcBef>
                <a:spcPts val="160"/>
              </a:spcBef>
              <a:buClr>
                <a:srgbClr val="71B0D3"/>
              </a:buClr>
              <a:buChar char="•"/>
              <a:tabLst>
                <a:tab pos="576072" algn="l"/>
                <a:tab pos="577088" algn="l"/>
              </a:tabLst>
            </a:pPr>
            <a:r>
              <a:rPr sz="3200" spc="-8" dirty="0">
                <a:solidFill>
                  <a:srgbClr val="517AC6"/>
                </a:solidFill>
              </a:rPr>
              <a:t>Small size </a:t>
            </a:r>
            <a:r>
              <a:rPr sz="3200" dirty="0">
                <a:solidFill>
                  <a:srgbClr val="517AC6"/>
                </a:solidFill>
              </a:rPr>
              <a:t>– </a:t>
            </a:r>
            <a:r>
              <a:rPr sz="3200" spc="-8" dirty="0">
                <a:solidFill>
                  <a:srgbClr val="517AC6"/>
                </a:solidFill>
              </a:rPr>
              <a:t>better </a:t>
            </a:r>
            <a:r>
              <a:rPr sz="3200" dirty="0">
                <a:solidFill>
                  <a:srgbClr val="517AC6"/>
                </a:solidFill>
              </a:rPr>
              <a:t>for </a:t>
            </a:r>
            <a:r>
              <a:rPr sz="3200" spc="-8" dirty="0">
                <a:solidFill>
                  <a:srgbClr val="517AC6"/>
                </a:solidFill>
              </a:rPr>
              <a:t>smaller adults </a:t>
            </a:r>
            <a:r>
              <a:rPr sz="3200" dirty="0">
                <a:solidFill>
                  <a:srgbClr val="517AC6"/>
                </a:solidFill>
              </a:rPr>
              <a:t>&amp;  </a:t>
            </a:r>
            <a:r>
              <a:rPr sz="3200" spc="-8" dirty="0">
                <a:solidFill>
                  <a:srgbClr val="517AC6"/>
                </a:solidFill>
              </a:rPr>
              <a:t>pediatrics</a:t>
            </a:r>
            <a:endParaRPr lang="en-GB" sz="3200" spc="-8" dirty="0">
              <a:solidFill>
                <a:srgbClr val="517AC6"/>
              </a:solidFill>
            </a:endParaRPr>
          </a:p>
          <a:p>
            <a:pPr marL="576072" marR="361696" indent="-556768">
              <a:spcBef>
                <a:spcPts val="160"/>
              </a:spcBef>
              <a:buClr>
                <a:srgbClr val="71B0D3"/>
              </a:buClr>
              <a:buChar char="•"/>
              <a:tabLst>
                <a:tab pos="576072" algn="l"/>
                <a:tab pos="577088" algn="l"/>
              </a:tabLst>
            </a:pPr>
            <a:endParaRPr sz="3200" dirty="0"/>
          </a:p>
          <a:p>
            <a:pPr marL="576072" marR="8128" indent="-556768">
              <a:spcBef>
                <a:spcPts val="920"/>
              </a:spcBef>
              <a:buClr>
                <a:srgbClr val="71B0D3"/>
              </a:buClr>
              <a:buChar char="•"/>
              <a:tabLst>
                <a:tab pos="576072" algn="l"/>
                <a:tab pos="577088" algn="l"/>
              </a:tabLst>
            </a:pPr>
            <a:r>
              <a:rPr sz="3200" spc="-8" dirty="0">
                <a:solidFill>
                  <a:srgbClr val="517AC6"/>
                </a:solidFill>
              </a:rPr>
              <a:t>Larger size </a:t>
            </a:r>
            <a:r>
              <a:rPr sz="3200" dirty="0">
                <a:solidFill>
                  <a:srgbClr val="517AC6"/>
                </a:solidFill>
              </a:rPr>
              <a:t>– </a:t>
            </a:r>
            <a:r>
              <a:rPr sz="3200" spc="-8" dirty="0">
                <a:solidFill>
                  <a:srgbClr val="517AC6"/>
                </a:solidFill>
              </a:rPr>
              <a:t>better </a:t>
            </a:r>
            <a:r>
              <a:rPr sz="3200" dirty="0">
                <a:solidFill>
                  <a:srgbClr val="517AC6"/>
                </a:solidFill>
              </a:rPr>
              <a:t>for </a:t>
            </a:r>
            <a:r>
              <a:rPr sz="3200" spc="-8" dirty="0">
                <a:solidFill>
                  <a:srgbClr val="517AC6"/>
                </a:solidFill>
              </a:rPr>
              <a:t>larger adults and  large</a:t>
            </a:r>
            <a:r>
              <a:rPr sz="3200" spc="8" dirty="0">
                <a:solidFill>
                  <a:srgbClr val="517AC6"/>
                </a:solidFill>
              </a:rPr>
              <a:t> </a:t>
            </a:r>
            <a:r>
              <a:rPr sz="3200" spc="-8" dirty="0">
                <a:solidFill>
                  <a:srgbClr val="517AC6"/>
                </a:solidFill>
              </a:rPr>
              <a:t>pediatrics</a:t>
            </a:r>
            <a:endParaRPr lang="en-GB" sz="3200" spc="-8" dirty="0">
              <a:solidFill>
                <a:srgbClr val="517AC6"/>
              </a:solidFill>
            </a:endParaRPr>
          </a:p>
          <a:p>
            <a:pPr marL="576072" marR="8128" indent="-556768">
              <a:spcBef>
                <a:spcPts val="920"/>
              </a:spcBef>
              <a:buClr>
                <a:srgbClr val="71B0D3"/>
              </a:buClr>
              <a:buChar char="•"/>
              <a:tabLst>
                <a:tab pos="576072" algn="l"/>
                <a:tab pos="577088" algn="l"/>
              </a:tabLst>
            </a:pPr>
            <a:endParaRPr sz="3200" dirty="0"/>
          </a:p>
          <a:p>
            <a:pPr marL="576072" indent="-556768">
              <a:spcBef>
                <a:spcPts val="928"/>
              </a:spcBef>
              <a:buClr>
                <a:srgbClr val="71B0D3"/>
              </a:buClr>
              <a:buChar char="•"/>
              <a:tabLst>
                <a:tab pos="576072" algn="l"/>
                <a:tab pos="577088" algn="l"/>
              </a:tabLst>
            </a:pPr>
            <a:r>
              <a:rPr sz="3200" spc="-8" dirty="0">
                <a:solidFill>
                  <a:srgbClr val="517AC6"/>
                </a:solidFill>
              </a:rPr>
              <a:t>Neonatal </a:t>
            </a:r>
            <a:r>
              <a:rPr sz="3200" dirty="0">
                <a:solidFill>
                  <a:srgbClr val="517AC6"/>
                </a:solidFill>
              </a:rPr>
              <a:t>– </a:t>
            </a:r>
            <a:r>
              <a:rPr sz="3200" spc="-8" dirty="0">
                <a:solidFill>
                  <a:srgbClr val="517AC6"/>
                </a:solidFill>
              </a:rPr>
              <a:t>neonatal is</a:t>
            </a:r>
            <a:r>
              <a:rPr sz="3200" spc="80" dirty="0">
                <a:solidFill>
                  <a:srgbClr val="517AC6"/>
                </a:solidFill>
              </a:rPr>
              <a:t> </a:t>
            </a:r>
            <a:r>
              <a:rPr sz="3200" spc="-8" dirty="0">
                <a:solidFill>
                  <a:srgbClr val="517AC6"/>
                </a:solidFill>
              </a:rPr>
              <a:t>specific</a:t>
            </a:r>
            <a:endParaRPr sz="3200" dirty="0"/>
          </a:p>
        </p:txBody>
      </p:sp>
      <p:sp>
        <p:nvSpPr>
          <p:cNvPr id="4" name="object 4"/>
          <p:cNvSpPr/>
          <p:nvPr/>
        </p:nvSpPr>
        <p:spPr>
          <a:xfrm>
            <a:off x="4246472" y="4858512"/>
            <a:ext cx="5486400" cy="337108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5" name="object 5"/>
          <p:cNvSpPr txBox="1"/>
          <p:nvPr/>
        </p:nvSpPr>
        <p:spPr>
          <a:xfrm>
            <a:off x="8484818" y="7637661"/>
            <a:ext cx="3445256" cy="247247"/>
          </a:xfrm>
          <a:prstGeom prst="rect">
            <a:avLst/>
          </a:prstGeom>
        </p:spPr>
        <p:txBody>
          <a:bodyPr vert="horz" wrap="square" lIns="0" tIns="1016" rIns="0" bIns="0" rtlCol="0">
            <a:spAutoFit/>
          </a:bodyPr>
          <a:lstStyle/>
          <a:p>
            <a:pPr marL="20320">
              <a:spcBef>
                <a:spcPts val="8"/>
              </a:spcBef>
            </a:pPr>
            <a:r>
              <a:rPr sz="1600" b="1" dirty="0">
                <a:solidFill>
                  <a:srgbClr val="F1F1F1"/>
                </a:solidFill>
              </a:rPr>
              <a:t>CONFIDENTIAL – Internal Use</a:t>
            </a:r>
            <a:r>
              <a:rPr sz="1600" b="1" spc="-216" dirty="0">
                <a:solidFill>
                  <a:srgbClr val="F1F1F1"/>
                </a:solidFill>
              </a:rPr>
              <a:t> </a:t>
            </a:r>
            <a:r>
              <a:rPr sz="1600" b="1" dirty="0">
                <a:solidFill>
                  <a:srgbClr val="F1F1F1"/>
                </a:solidFill>
              </a:rPr>
              <a:t>Only</a:t>
            </a:r>
            <a:endParaRPr sz="1600"/>
          </a:p>
        </p:txBody>
      </p:sp>
    </p:spTree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57505" y="700170"/>
            <a:ext cx="2923032" cy="600164"/>
          </a:xfrm>
          <a:prstGeom prst="rect">
            <a:avLst/>
          </a:prstGeom>
        </p:spPr>
        <p:txBody>
          <a:bodyPr spcFirstLastPara="1" vert="horz" wrap="square" lIns="0" tIns="20320" rIns="0" bIns="0" rtlCol="0" anchor="ctr" anchorCtr="0">
            <a:spAutoFit/>
          </a:bodyPr>
          <a:lstStyle/>
          <a:p>
            <a:pPr marL="20320">
              <a:lnSpc>
                <a:spcPct val="100000"/>
              </a:lnSpc>
              <a:spcBef>
                <a:spcPts val="160"/>
              </a:spcBef>
            </a:pPr>
            <a:r>
              <a:rPr u="none" dirty="0"/>
              <a:t>Conne</a:t>
            </a:r>
            <a:r>
              <a:rPr spc="8" dirty="0"/>
              <a:t>c</a:t>
            </a:r>
            <a:r>
              <a:rPr u="none" dirty="0"/>
              <a:t>tion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3235351" y="1961285"/>
            <a:ext cx="1415288" cy="574516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20320">
              <a:spcBef>
                <a:spcPts val="160"/>
              </a:spcBef>
            </a:pPr>
            <a:r>
              <a:rPr sz="3600" dirty="0">
                <a:solidFill>
                  <a:srgbClr val="517AC6"/>
                </a:solidFill>
              </a:rPr>
              <a:t>“Sna</a:t>
            </a:r>
            <a:r>
              <a:rPr sz="3600" spc="8" dirty="0">
                <a:solidFill>
                  <a:srgbClr val="517AC6"/>
                </a:solidFill>
              </a:rPr>
              <a:t>p</a:t>
            </a:r>
            <a:r>
              <a:rPr sz="3600" dirty="0">
                <a:solidFill>
                  <a:srgbClr val="517AC6"/>
                </a:solidFill>
              </a:rPr>
              <a:t>”</a:t>
            </a:r>
            <a:endParaRPr sz="3600"/>
          </a:p>
        </p:txBody>
      </p:sp>
      <p:sp>
        <p:nvSpPr>
          <p:cNvPr id="4" name="object 4"/>
          <p:cNvSpPr txBox="1"/>
          <p:nvPr/>
        </p:nvSpPr>
        <p:spPr>
          <a:xfrm>
            <a:off x="5802985" y="1961286"/>
            <a:ext cx="777240" cy="574516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20320">
              <a:spcBef>
                <a:spcPts val="160"/>
              </a:spcBef>
            </a:pPr>
            <a:r>
              <a:rPr sz="3600" spc="-406" dirty="0">
                <a:solidFill>
                  <a:srgbClr val="517AC6"/>
                </a:solidFill>
              </a:rPr>
              <a:t>T</a:t>
            </a:r>
            <a:r>
              <a:rPr sz="3600" spc="-8" dirty="0">
                <a:solidFill>
                  <a:srgbClr val="517AC6"/>
                </a:solidFill>
              </a:rPr>
              <a:t>ab</a:t>
            </a:r>
            <a:endParaRPr sz="3600"/>
          </a:p>
        </p:txBody>
      </p:sp>
      <p:sp>
        <p:nvSpPr>
          <p:cNvPr id="5" name="object 5"/>
          <p:cNvSpPr txBox="1"/>
          <p:nvPr/>
        </p:nvSpPr>
        <p:spPr>
          <a:xfrm>
            <a:off x="7878065" y="1961285"/>
            <a:ext cx="2100072" cy="574516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20320">
              <a:spcBef>
                <a:spcPts val="160"/>
              </a:spcBef>
            </a:pPr>
            <a:r>
              <a:rPr sz="3600" spc="-8" dirty="0">
                <a:solidFill>
                  <a:srgbClr val="517AC6"/>
                </a:solidFill>
              </a:rPr>
              <a:t>Pr</a:t>
            </a:r>
            <a:r>
              <a:rPr sz="3600" dirty="0">
                <a:solidFill>
                  <a:srgbClr val="517AC6"/>
                </a:solidFill>
              </a:rPr>
              <a:t>e</a:t>
            </a:r>
            <a:r>
              <a:rPr sz="3600" spc="-8" dirty="0">
                <a:solidFill>
                  <a:srgbClr val="517AC6"/>
                </a:solidFill>
              </a:rPr>
              <a:t>-Wired</a:t>
            </a:r>
            <a:endParaRPr sz="3600"/>
          </a:p>
        </p:txBody>
      </p:sp>
      <p:sp>
        <p:nvSpPr>
          <p:cNvPr id="6" name="object 6"/>
          <p:cNvSpPr txBox="1"/>
          <p:nvPr/>
        </p:nvSpPr>
        <p:spPr>
          <a:xfrm>
            <a:off x="10445039" y="1961285"/>
            <a:ext cx="1618488" cy="574516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20320">
              <a:spcBef>
                <a:spcPts val="160"/>
              </a:spcBef>
            </a:pPr>
            <a:r>
              <a:rPr sz="3600" spc="-8" dirty="0">
                <a:solidFill>
                  <a:srgbClr val="517AC6"/>
                </a:solidFill>
              </a:rPr>
              <a:t>Banana</a:t>
            </a:r>
            <a:endParaRPr sz="3600"/>
          </a:p>
        </p:txBody>
      </p:sp>
      <p:sp>
        <p:nvSpPr>
          <p:cNvPr id="7" name="object 7"/>
          <p:cNvSpPr/>
          <p:nvPr/>
        </p:nvSpPr>
        <p:spPr>
          <a:xfrm>
            <a:off x="2360371" y="2750515"/>
            <a:ext cx="2656637" cy="264932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8" name="object 8"/>
          <p:cNvSpPr/>
          <p:nvPr/>
        </p:nvSpPr>
        <p:spPr>
          <a:xfrm>
            <a:off x="5084063" y="2439617"/>
            <a:ext cx="2744419" cy="367954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9" name="object 9"/>
          <p:cNvSpPr/>
          <p:nvPr/>
        </p:nvSpPr>
        <p:spPr>
          <a:xfrm>
            <a:off x="5394960" y="2750515"/>
            <a:ext cx="1805635" cy="274076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0" name="object 10"/>
          <p:cNvSpPr/>
          <p:nvPr/>
        </p:nvSpPr>
        <p:spPr>
          <a:xfrm>
            <a:off x="7589459" y="2556561"/>
            <a:ext cx="2273827" cy="3037128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1" name="object 11"/>
          <p:cNvSpPr/>
          <p:nvPr/>
        </p:nvSpPr>
        <p:spPr>
          <a:xfrm>
            <a:off x="10241280" y="2226257"/>
            <a:ext cx="2153107" cy="369783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2" name="object 12"/>
          <p:cNvSpPr txBox="1"/>
          <p:nvPr/>
        </p:nvSpPr>
        <p:spPr>
          <a:xfrm>
            <a:off x="8484818" y="7637661"/>
            <a:ext cx="3445256" cy="247247"/>
          </a:xfrm>
          <a:prstGeom prst="rect">
            <a:avLst/>
          </a:prstGeom>
        </p:spPr>
        <p:txBody>
          <a:bodyPr vert="horz" wrap="square" lIns="0" tIns="1016" rIns="0" bIns="0" rtlCol="0">
            <a:spAutoFit/>
          </a:bodyPr>
          <a:lstStyle/>
          <a:p>
            <a:pPr marL="20320">
              <a:spcBef>
                <a:spcPts val="8"/>
              </a:spcBef>
            </a:pPr>
            <a:r>
              <a:rPr sz="1600" b="1" dirty="0">
                <a:solidFill>
                  <a:srgbClr val="F1F1F1"/>
                </a:solidFill>
              </a:rPr>
              <a:t>CONFIDENTIAL – Internal Use</a:t>
            </a:r>
            <a:r>
              <a:rPr sz="1600" b="1" spc="-216" dirty="0">
                <a:solidFill>
                  <a:srgbClr val="F1F1F1"/>
                </a:solidFill>
              </a:rPr>
              <a:t> </a:t>
            </a:r>
            <a:r>
              <a:rPr sz="1600" b="1" dirty="0">
                <a:solidFill>
                  <a:srgbClr val="F1F1F1"/>
                </a:solidFill>
              </a:rPr>
              <a:t>Only</a:t>
            </a:r>
            <a:endParaRPr sz="1600"/>
          </a:p>
        </p:txBody>
      </p:sp>
    </p:spTree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57505" y="700170"/>
            <a:ext cx="6915912" cy="600164"/>
          </a:xfrm>
          <a:prstGeom prst="rect">
            <a:avLst/>
          </a:prstGeom>
        </p:spPr>
        <p:txBody>
          <a:bodyPr spcFirstLastPara="1" vert="horz" wrap="square" lIns="0" tIns="20320" rIns="0" bIns="0" rtlCol="0" anchor="ctr" anchorCtr="0">
            <a:spAutoFit/>
          </a:bodyPr>
          <a:lstStyle/>
          <a:p>
            <a:pPr marL="20320">
              <a:lnSpc>
                <a:spcPct val="100000"/>
              </a:lnSpc>
              <a:spcBef>
                <a:spcPts val="160"/>
              </a:spcBef>
            </a:pPr>
            <a:r>
              <a:rPr u="none" dirty="0"/>
              <a:t>Our pre-attached</a:t>
            </a:r>
            <a:r>
              <a:rPr spc="-80" dirty="0"/>
              <a:t> </a:t>
            </a:r>
            <a:r>
              <a:rPr u="none" dirty="0"/>
              <a:t>leadwires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857504" y="1839977"/>
            <a:ext cx="4523232" cy="1327543"/>
          </a:xfrm>
          <a:prstGeom prst="rect">
            <a:avLst/>
          </a:prstGeom>
        </p:spPr>
        <p:txBody>
          <a:bodyPr vert="horz" wrap="square" lIns="0" tIns="140208" rIns="0" bIns="0" rtlCol="0">
            <a:spAutoFit/>
          </a:bodyPr>
          <a:lstStyle/>
          <a:p>
            <a:pPr marL="576072" indent="-556768">
              <a:spcBef>
                <a:spcPts val="1104"/>
              </a:spcBef>
              <a:buClr>
                <a:srgbClr val="71B0D3"/>
              </a:buClr>
              <a:buChar char="•"/>
              <a:tabLst>
                <a:tab pos="576072" algn="l"/>
                <a:tab pos="577088" algn="l"/>
              </a:tabLst>
            </a:pPr>
            <a:r>
              <a:rPr sz="3840" dirty="0">
                <a:solidFill>
                  <a:srgbClr val="517AC6"/>
                </a:solidFill>
              </a:rPr>
              <a:t>Only </a:t>
            </a:r>
            <a:r>
              <a:rPr sz="3840" spc="-8" dirty="0">
                <a:solidFill>
                  <a:srgbClr val="517AC6"/>
                </a:solidFill>
              </a:rPr>
              <a:t>for</a:t>
            </a:r>
            <a:r>
              <a:rPr sz="3840" spc="-96" dirty="0">
                <a:solidFill>
                  <a:srgbClr val="517AC6"/>
                </a:solidFill>
              </a:rPr>
              <a:t> </a:t>
            </a:r>
            <a:r>
              <a:rPr sz="3840" spc="-8" dirty="0">
                <a:solidFill>
                  <a:srgbClr val="517AC6"/>
                </a:solidFill>
              </a:rPr>
              <a:t>neonates</a:t>
            </a:r>
            <a:endParaRPr sz="3840"/>
          </a:p>
          <a:p>
            <a:pPr marL="751840">
              <a:spcBef>
                <a:spcPts val="784"/>
              </a:spcBef>
              <a:tabLst>
                <a:tab pos="1208024" algn="l"/>
              </a:tabLst>
            </a:pPr>
            <a:r>
              <a:rPr sz="3200" spc="-8" dirty="0">
                <a:solidFill>
                  <a:srgbClr val="71B0D3"/>
                </a:solidFill>
              </a:rPr>
              <a:t>–	</a:t>
            </a:r>
            <a:r>
              <a:rPr sz="3200" spc="-8" dirty="0">
                <a:solidFill>
                  <a:srgbClr val="517AC6"/>
                </a:solidFill>
              </a:rPr>
              <a:t>IEC:</a:t>
            </a:r>
            <a:r>
              <a:rPr sz="3200" spc="-104" dirty="0">
                <a:solidFill>
                  <a:srgbClr val="517AC6"/>
                </a:solidFill>
              </a:rPr>
              <a:t> </a:t>
            </a:r>
            <a:r>
              <a:rPr sz="3200" spc="-8" dirty="0">
                <a:solidFill>
                  <a:srgbClr val="517AC6"/>
                </a:solidFill>
              </a:rPr>
              <a:t>2009101-406</a:t>
            </a:r>
            <a:endParaRPr sz="3200"/>
          </a:p>
        </p:txBody>
      </p:sp>
      <p:sp>
        <p:nvSpPr>
          <p:cNvPr id="4" name="object 4"/>
          <p:cNvSpPr txBox="1"/>
          <p:nvPr/>
        </p:nvSpPr>
        <p:spPr>
          <a:xfrm>
            <a:off x="1589023" y="5571744"/>
            <a:ext cx="3951224" cy="511935"/>
          </a:xfrm>
          <a:prstGeom prst="rect">
            <a:avLst/>
          </a:prstGeom>
        </p:spPr>
        <p:txBody>
          <a:bodyPr vert="horz" wrap="square" lIns="0" tIns="19304" rIns="0" bIns="0" rtlCol="0">
            <a:spAutoFit/>
          </a:bodyPr>
          <a:lstStyle/>
          <a:p>
            <a:pPr marL="20320">
              <a:spcBef>
                <a:spcPts val="152"/>
              </a:spcBef>
              <a:tabLst>
                <a:tab pos="476504" algn="l"/>
              </a:tabLst>
            </a:pPr>
            <a:r>
              <a:rPr sz="3200" spc="-8" dirty="0">
                <a:solidFill>
                  <a:srgbClr val="71B0D3"/>
                </a:solidFill>
              </a:rPr>
              <a:t>–	</a:t>
            </a:r>
            <a:r>
              <a:rPr sz="3200" spc="-8" dirty="0">
                <a:solidFill>
                  <a:srgbClr val="517AC6"/>
                </a:solidFill>
              </a:rPr>
              <a:t>AHA:</a:t>
            </a:r>
            <a:r>
              <a:rPr sz="3200" spc="-80" dirty="0">
                <a:solidFill>
                  <a:srgbClr val="517AC6"/>
                </a:solidFill>
              </a:rPr>
              <a:t> </a:t>
            </a:r>
            <a:r>
              <a:rPr sz="3200" spc="-8" dirty="0">
                <a:solidFill>
                  <a:srgbClr val="517AC6"/>
                </a:solidFill>
              </a:rPr>
              <a:t>2009101-404</a:t>
            </a:r>
            <a:endParaRPr sz="3200"/>
          </a:p>
        </p:txBody>
      </p:sp>
      <p:sp>
        <p:nvSpPr>
          <p:cNvPr id="5" name="object 5"/>
          <p:cNvSpPr/>
          <p:nvPr/>
        </p:nvSpPr>
        <p:spPr>
          <a:xfrm>
            <a:off x="4834126" y="4937760"/>
            <a:ext cx="7418832" cy="196657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6" name="object 6"/>
          <p:cNvSpPr/>
          <p:nvPr/>
        </p:nvSpPr>
        <p:spPr>
          <a:xfrm>
            <a:off x="4812183" y="2170177"/>
            <a:ext cx="7719974" cy="203606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7" name="object 7"/>
          <p:cNvSpPr txBox="1"/>
          <p:nvPr/>
        </p:nvSpPr>
        <p:spPr>
          <a:xfrm>
            <a:off x="8484818" y="7637661"/>
            <a:ext cx="3445256" cy="247247"/>
          </a:xfrm>
          <a:prstGeom prst="rect">
            <a:avLst/>
          </a:prstGeom>
        </p:spPr>
        <p:txBody>
          <a:bodyPr vert="horz" wrap="square" lIns="0" tIns="1016" rIns="0" bIns="0" rtlCol="0">
            <a:spAutoFit/>
          </a:bodyPr>
          <a:lstStyle/>
          <a:p>
            <a:pPr marL="20320">
              <a:spcBef>
                <a:spcPts val="8"/>
              </a:spcBef>
            </a:pPr>
            <a:r>
              <a:rPr sz="1600" b="1" dirty="0">
                <a:solidFill>
                  <a:srgbClr val="F1F1F1"/>
                </a:solidFill>
              </a:rPr>
              <a:t>CONFIDENTIAL – Internal Use</a:t>
            </a:r>
            <a:r>
              <a:rPr sz="1600" b="1" spc="-216" dirty="0">
                <a:solidFill>
                  <a:srgbClr val="F1F1F1"/>
                </a:solidFill>
              </a:rPr>
              <a:t> </a:t>
            </a:r>
            <a:r>
              <a:rPr sz="1600" b="1" dirty="0">
                <a:solidFill>
                  <a:srgbClr val="F1F1F1"/>
                </a:solidFill>
              </a:rPr>
              <a:t>Only</a:t>
            </a:r>
            <a:endParaRPr sz="1600"/>
          </a:p>
        </p:txBody>
      </p:sp>
    </p:spTree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7906" name="Rectangle 2"/>
          <p:cNvSpPr>
            <a:spLocks noGrp="1" noChangeArrowheads="1"/>
          </p:cNvSpPr>
          <p:nvPr>
            <p:ph type="title"/>
          </p:nvPr>
        </p:nvSpPr>
        <p:spPr>
          <a:xfrm>
            <a:off x="2240281" y="252890"/>
            <a:ext cx="10151746" cy="590931"/>
          </a:xfrm>
        </p:spPr>
        <p:txBody>
          <a:bodyPr/>
          <a:lstStyle/>
          <a:p>
            <a:r>
              <a:rPr lang="en-US" altLang="en-US" sz="3840"/>
              <a:t>Radiotranslucent ECG Electrodes</a:t>
            </a:r>
          </a:p>
        </p:txBody>
      </p:sp>
      <p:sp>
        <p:nvSpPr>
          <p:cNvPr id="507907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243841" y="1476377"/>
            <a:ext cx="14264638" cy="3656386"/>
          </a:xfrm>
        </p:spPr>
        <p:txBody>
          <a:bodyPr/>
          <a:lstStyle/>
          <a:p>
            <a:pPr>
              <a:buFontTx/>
              <a:buChar char="•"/>
            </a:pPr>
            <a:r>
              <a:rPr lang="en-US" altLang="en-US" sz="2400" dirty="0"/>
              <a:t>Used in </a:t>
            </a:r>
            <a:r>
              <a:rPr lang="en-US" altLang="en-US" sz="2400" dirty="0" err="1"/>
              <a:t>Cath</a:t>
            </a:r>
            <a:r>
              <a:rPr lang="en-US" altLang="en-US" sz="2400" dirty="0"/>
              <a:t> Lab and MRI</a:t>
            </a:r>
          </a:p>
          <a:p>
            <a:pPr>
              <a:buFontTx/>
              <a:buChar char="•"/>
            </a:pPr>
            <a:endParaRPr lang="en-US" altLang="en-US" sz="2400" dirty="0"/>
          </a:p>
          <a:p>
            <a:pPr>
              <a:buFontTx/>
              <a:buChar char="•"/>
            </a:pPr>
            <a:r>
              <a:rPr lang="en-US" altLang="en-US" sz="2400" dirty="0"/>
              <a:t>Conductive carbon snap – X-ray translucent and non-magnetic</a:t>
            </a:r>
          </a:p>
          <a:p>
            <a:pPr>
              <a:buFontTx/>
              <a:buChar char="•"/>
            </a:pPr>
            <a:endParaRPr lang="en-US" altLang="en-US" sz="2400" dirty="0"/>
          </a:p>
          <a:p>
            <a:pPr>
              <a:buFontTx/>
              <a:buChar char="•"/>
            </a:pPr>
            <a:r>
              <a:rPr lang="en-US" altLang="en-US" sz="2400" dirty="0"/>
              <a:t>Use with </a:t>
            </a:r>
            <a:r>
              <a:rPr lang="en-US" altLang="en-US" sz="2400" dirty="0" err="1"/>
              <a:t>radiotranslucent</a:t>
            </a:r>
            <a:r>
              <a:rPr lang="en-US" altLang="en-US" sz="2400" dirty="0"/>
              <a:t> </a:t>
            </a:r>
            <a:r>
              <a:rPr lang="en-US" altLang="en-US" sz="2400" dirty="0" err="1"/>
              <a:t>leadwires</a:t>
            </a:r>
            <a:r>
              <a:rPr lang="en-US" altLang="en-US" sz="2400" dirty="0"/>
              <a:t> </a:t>
            </a:r>
          </a:p>
          <a:p>
            <a:pPr>
              <a:buFontTx/>
              <a:buChar char="•"/>
            </a:pPr>
            <a:endParaRPr lang="en-US" altLang="en-US" sz="2400" dirty="0"/>
          </a:p>
          <a:p>
            <a:pPr>
              <a:buFontTx/>
              <a:buChar char="•"/>
            </a:pPr>
            <a:r>
              <a:rPr lang="en-US" altLang="en-US" sz="2400" b="1" dirty="0"/>
              <a:t>9408-401</a:t>
            </a:r>
            <a:r>
              <a:rPr lang="en-US" altLang="en-US" sz="2400" dirty="0"/>
              <a:t> 	– </a:t>
            </a:r>
            <a:r>
              <a:rPr lang="en-US" altLang="en-US" dirty="0"/>
              <a:t>Oval Foam </a:t>
            </a:r>
            <a:r>
              <a:rPr lang="en-US" altLang="en-US" dirty="0" err="1"/>
              <a:t>Radiotranslucent</a:t>
            </a:r>
            <a:r>
              <a:rPr lang="en-US" altLang="en-US" dirty="0"/>
              <a:t> Electrode, Wet Gel – 5/strip, 300/case</a:t>
            </a:r>
          </a:p>
          <a:p>
            <a:pPr>
              <a:buFontTx/>
              <a:buChar char="•"/>
            </a:pPr>
            <a:r>
              <a:rPr lang="en-US" altLang="en-US" sz="2400" b="1" dirty="0"/>
              <a:t>2014786-001</a:t>
            </a:r>
            <a:r>
              <a:rPr lang="en-US" altLang="en-US" sz="2400" dirty="0"/>
              <a:t> 	– </a:t>
            </a:r>
            <a:r>
              <a:rPr lang="en-US" altLang="en-US" dirty="0"/>
              <a:t>Rectangle Foam, </a:t>
            </a:r>
            <a:r>
              <a:rPr lang="en-US" altLang="en-US" dirty="0" err="1"/>
              <a:t>Radiotranslucent</a:t>
            </a:r>
            <a:r>
              <a:rPr lang="en-US" altLang="en-US" dirty="0"/>
              <a:t> Electrode, Wet Gel – 30/pouch, 300/case</a:t>
            </a:r>
          </a:p>
          <a:p>
            <a:pPr>
              <a:buFontTx/>
              <a:buChar char="•"/>
            </a:pPr>
            <a:r>
              <a:rPr lang="en-US" altLang="en-US" sz="2400" b="1" dirty="0"/>
              <a:t>2014787-001</a:t>
            </a:r>
            <a:r>
              <a:rPr lang="en-US" altLang="en-US" sz="2400" dirty="0"/>
              <a:t> 	– </a:t>
            </a:r>
            <a:r>
              <a:rPr lang="en-US" altLang="en-US" dirty="0"/>
              <a:t>Rectangle Foam, </a:t>
            </a:r>
            <a:r>
              <a:rPr lang="en-US" altLang="en-US" dirty="0" err="1"/>
              <a:t>Radiotranslucent</a:t>
            </a:r>
            <a:r>
              <a:rPr lang="en-US" altLang="en-US" dirty="0"/>
              <a:t> Electrode, Wet Gel – 5/strip, 300/box</a:t>
            </a:r>
          </a:p>
          <a:p>
            <a:pPr lvl="1">
              <a:buFont typeface="GE Inspira" pitchFamily="34" charset="0"/>
              <a:buNone/>
            </a:pPr>
            <a:endParaRPr lang="en-US" altLang="en-US" sz="2160" dirty="0"/>
          </a:p>
        </p:txBody>
      </p:sp>
      <p:pic>
        <p:nvPicPr>
          <p:cNvPr id="507908" name="Picture 4" descr="D:\docs\My Pictures\403751-007.jpg"/>
          <p:cNvPicPr>
            <a:picLocks noGrp="1" noChangeAspect="1" noChangeArrowheads="1"/>
          </p:cNvPicPr>
          <p:nvPr>
            <p:ph type="clipArt"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0448924" y="675005"/>
            <a:ext cx="3882390" cy="2817496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507909" name="Picture 5" descr="D:\docs\My Pictures\Radtrans-CathmontMRUSex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54639" y="4293873"/>
            <a:ext cx="3931920" cy="2767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40285696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57505" y="700170"/>
            <a:ext cx="4662424" cy="600164"/>
          </a:xfrm>
          <a:prstGeom prst="rect">
            <a:avLst/>
          </a:prstGeom>
        </p:spPr>
        <p:txBody>
          <a:bodyPr spcFirstLastPara="1" vert="horz" wrap="square" lIns="0" tIns="20320" rIns="0" bIns="0" rtlCol="0" anchor="ctr" anchorCtr="0">
            <a:spAutoFit/>
          </a:bodyPr>
          <a:lstStyle/>
          <a:p>
            <a:pPr marL="20320">
              <a:lnSpc>
                <a:spcPct val="100000"/>
              </a:lnSpc>
              <a:spcBef>
                <a:spcPts val="160"/>
              </a:spcBef>
            </a:pPr>
            <a:r>
              <a:rPr u="none" dirty="0"/>
              <a:t>Radio</a:t>
            </a:r>
            <a:r>
              <a:rPr spc="8" dirty="0"/>
              <a:t>l</a:t>
            </a:r>
            <a:r>
              <a:rPr u="none" dirty="0"/>
              <a:t>uce</a:t>
            </a:r>
            <a:r>
              <a:rPr spc="8" dirty="0"/>
              <a:t>n</a:t>
            </a:r>
            <a:r>
              <a:rPr u="none" dirty="0"/>
              <a:t>cy/MRI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857504" y="1960065"/>
            <a:ext cx="12309856" cy="611449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576072" marR="8128" indent="-556768">
              <a:spcBef>
                <a:spcPts val="160"/>
              </a:spcBef>
              <a:buClr>
                <a:srgbClr val="71B0D3"/>
              </a:buClr>
              <a:buChar char="•"/>
              <a:tabLst>
                <a:tab pos="576072" algn="l"/>
                <a:tab pos="577088" algn="l"/>
              </a:tabLst>
            </a:pPr>
            <a:r>
              <a:rPr lang="en-GB" sz="3840" spc="-8" dirty="0">
                <a:solidFill>
                  <a:srgbClr val="517AC6"/>
                </a:solidFill>
              </a:rPr>
              <a:t>Which </a:t>
            </a:r>
            <a:r>
              <a:rPr sz="3840" spc="-8" dirty="0">
                <a:solidFill>
                  <a:srgbClr val="517AC6"/>
                </a:solidFill>
              </a:rPr>
              <a:t>electrode is radiolucent </a:t>
            </a:r>
            <a:r>
              <a:rPr sz="3840" dirty="0">
                <a:solidFill>
                  <a:srgbClr val="517AC6"/>
                </a:solidFill>
              </a:rPr>
              <a:t>/ MRI  </a:t>
            </a:r>
            <a:r>
              <a:rPr sz="3840" spc="-8" dirty="0">
                <a:solidFill>
                  <a:srgbClr val="517AC6"/>
                </a:solidFill>
              </a:rPr>
              <a:t>compatible</a:t>
            </a:r>
            <a:r>
              <a:rPr lang="en-GB" sz="3840" spc="-8" dirty="0">
                <a:solidFill>
                  <a:srgbClr val="517AC6"/>
                </a:solidFill>
              </a:rPr>
              <a:t>?</a:t>
            </a:r>
            <a:endParaRPr sz="3840" dirty="0"/>
          </a:p>
        </p:txBody>
      </p:sp>
      <p:sp>
        <p:nvSpPr>
          <p:cNvPr id="4" name="object 4"/>
          <p:cNvSpPr/>
          <p:nvPr/>
        </p:nvSpPr>
        <p:spPr>
          <a:xfrm>
            <a:off x="2859023" y="3200400"/>
            <a:ext cx="3561283" cy="356616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5" name="object 5"/>
          <p:cNvSpPr/>
          <p:nvPr/>
        </p:nvSpPr>
        <p:spPr>
          <a:xfrm>
            <a:off x="7223760" y="3200400"/>
            <a:ext cx="3547872" cy="356616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6" name="object 6"/>
          <p:cNvSpPr/>
          <p:nvPr/>
        </p:nvSpPr>
        <p:spPr>
          <a:xfrm>
            <a:off x="4692702" y="4998720"/>
            <a:ext cx="2062885" cy="188122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7" name="object 7"/>
          <p:cNvSpPr/>
          <p:nvPr/>
        </p:nvSpPr>
        <p:spPr>
          <a:xfrm>
            <a:off x="4938368" y="5212689"/>
            <a:ext cx="1751584" cy="1569720"/>
          </a:xfrm>
          <a:custGeom>
            <a:avLst/>
            <a:gdLst/>
            <a:ahLst/>
            <a:cxnLst/>
            <a:rect l="l" t="t" r="r" b="b"/>
            <a:pathLst>
              <a:path w="1094739" h="981075">
                <a:moveTo>
                  <a:pt x="37139" y="33270"/>
                </a:moveTo>
                <a:lnTo>
                  <a:pt x="44788" y="56895"/>
                </a:lnTo>
                <a:lnTo>
                  <a:pt x="1077468" y="980998"/>
                </a:lnTo>
                <a:lnTo>
                  <a:pt x="1094232" y="962266"/>
                </a:lnTo>
                <a:lnTo>
                  <a:pt x="61594" y="38261"/>
                </a:lnTo>
                <a:lnTo>
                  <a:pt x="37139" y="33270"/>
                </a:lnTo>
                <a:close/>
              </a:path>
              <a:path w="1094739" h="981075">
                <a:moveTo>
                  <a:pt x="0" y="0"/>
                </a:moveTo>
                <a:lnTo>
                  <a:pt x="33781" y="104394"/>
                </a:lnTo>
                <a:lnTo>
                  <a:pt x="35813" y="110998"/>
                </a:lnTo>
                <a:lnTo>
                  <a:pt x="42925" y="114681"/>
                </a:lnTo>
                <a:lnTo>
                  <a:pt x="56133" y="110363"/>
                </a:lnTo>
                <a:lnTo>
                  <a:pt x="59817" y="103251"/>
                </a:lnTo>
                <a:lnTo>
                  <a:pt x="57657" y="96647"/>
                </a:lnTo>
                <a:lnTo>
                  <a:pt x="44788" y="56895"/>
                </a:lnTo>
                <a:lnTo>
                  <a:pt x="10160" y="25908"/>
                </a:lnTo>
                <a:lnTo>
                  <a:pt x="26924" y="7239"/>
                </a:lnTo>
                <a:lnTo>
                  <a:pt x="35408" y="7239"/>
                </a:lnTo>
                <a:lnTo>
                  <a:pt x="0" y="0"/>
                </a:lnTo>
                <a:close/>
              </a:path>
              <a:path w="1094739" h="981075">
                <a:moveTo>
                  <a:pt x="26924" y="7239"/>
                </a:moveTo>
                <a:lnTo>
                  <a:pt x="10160" y="25908"/>
                </a:lnTo>
                <a:lnTo>
                  <a:pt x="44788" y="56895"/>
                </a:lnTo>
                <a:lnTo>
                  <a:pt x="37139" y="33270"/>
                </a:lnTo>
                <a:lnTo>
                  <a:pt x="16001" y="28956"/>
                </a:lnTo>
                <a:lnTo>
                  <a:pt x="30480" y="12700"/>
                </a:lnTo>
                <a:lnTo>
                  <a:pt x="33027" y="12700"/>
                </a:lnTo>
                <a:lnTo>
                  <a:pt x="26924" y="7239"/>
                </a:lnTo>
                <a:close/>
              </a:path>
              <a:path w="1094739" h="981075">
                <a:moveTo>
                  <a:pt x="35408" y="7239"/>
                </a:moveTo>
                <a:lnTo>
                  <a:pt x="26924" y="7239"/>
                </a:lnTo>
                <a:lnTo>
                  <a:pt x="61594" y="38261"/>
                </a:lnTo>
                <a:lnTo>
                  <a:pt x="109219" y="48006"/>
                </a:lnTo>
                <a:lnTo>
                  <a:pt x="115950" y="43561"/>
                </a:lnTo>
                <a:lnTo>
                  <a:pt x="117348" y="36830"/>
                </a:lnTo>
                <a:lnTo>
                  <a:pt x="118744" y="29972"/>
                </a:lnTo>
                <a:lnTo>
                  <a:pt x="114300" y="23368"/>
                </a:lnTo>
                <a:lnTo>
                  <a:pt x="35408" y="7239"/>
                </a:lnTo>
                <a:close/>
              </a:path>
              <a:path w="1094739" h="981075">
                <a:moveTo>
                  <a:pt x="33027" y="12700"/>
                </a:moveTo>
                <a:lnTo>
                  <a:pt x="30480" y="12700"/>
                </a:lnTo>
                <a:lnTo>
                  <a:pt x="37139" y="33270"/>
                </a:lnTo>
                <a:lnTo>
                  <a:pt x="61594" y="38261"/>
                </a:lnTo>
                <a:lnTo>
                  <a:pt x="33027" y="12700"/>
                </a:lnTo>
                <a:close/>
              </a:path>
              <a:path w="1094739" h="981075">
                <a:moveTo>
                  <a:pt x="30480" y="12700"/>
                </a:moveTo>
                <a:lnTo>
                  <a:pt x="16001" y="28956"/>
                </a:lnTo>
                <a:lnTo>
                  <a:pt x="37139" y="33270"/>
                </a:lnTo>
                <a:lnTo>
                  <a:pt x="30480" y="12700"/>
                </a:lnTo>
                <a:close/>
              </a:path>
            </a:pathLst>
          </a:custGeom>
          <a:solidFill>
            <a:srgbClr val="71B0D3"/>
          </a:solid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8" name="object 8"/>
          <p:cNvSpPr/>
          <p:nvPr/>
        </p:nvSpPr>
        <p:spPr>
          <a:xfrm>
            <a:off x="8990381" y="4925566"/>
            <a:ext cx="2062886" cy="188122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9" name="object 9"/>
          <p:cNvSpPr/>
          <p:nvPr/>
        </p:nvSpPr>
        <p:spPr>
          <a:xfrm>
            <a:off x="9236048" y="5139537"/>
            <a:ext cx="1751584" cy="1569720"/>
          </a:xfrm>
          <a:custGeom>
            <a:avLst/>
            <a:gdLst/>
            <a:ahLst/>
            <a:cxnLst/>
            <a:rect l="l" t="t" r="r" b="b"/>
            <a:pathLst>
              <a:path w="1094740" h="981075">
                <a:moveTo>
                  <a:pt x="37139" y="33270"/>
                </a:moveTo>
                <a:lnTo>
                  <a:pt x="44788" y="56895"/>
                </a:lnTo>
                <a:lnTo>
                  <a:pt x="1077468" y="980998"/>
                </a:lnTo>
                <a:lnTo>
                  <a:pt x="1094232" y="962266"/>
                </a:lnTo>
                <a:lnTo>
                  <a:pt x="61594" y="38261"/>
                </a:lnTo>
                <a:lnTo>
                  <a:pt x="37139" y="33270"/>
                </a:lnTo>
                <a:close/>
              </a:path>
              <a:path w="1094740" h="981075">
                <a:moveTo>
                  <a:pt x="0" y="0"/>
                </a:moveTo>
                <a:lnTo>
                  <a:pt x="33782" y="104393"/>
                </a:lnTo>
                <a:lnTo>
                  <a:pt x="35814" y="110997"/>
                </a:lnTo>
                <a:lnTo>
                  <a:pt x="42926" y="114681"/>
                </a:lnTo>
                <a:lnTo>
                  <a:pt x="56134" y="110362"/>
                </a:lnTo>
                <a:lnTo>
                  <a:pt x="59817" y="103250"/>
                </a:lnTo>
                <a:lnTo>
                  <a:pt x="57658" y="96646"/>
                </a:lnTo>
                <a:lnTo>
                  <a:pt x="44788" y="56895"/>
                </a:lnTo>
                <a:lnTo>
                  <a:pt x="10160" y="25907"/>
                </a:lnTo>
                <a:lnTo>
                  <a:pt x="26924" y="7238"/>
                </a:lnTo>
                <a:lnTo>
                  <a:pt x="35408" y="7238"/>
                </a:lnTo>
                <a:lnTo>
                  <a:pt x="0" y="0"/>
                </a:lnTo>
                <a:close/>
              </a:path>
              <a:path w="1094740" h="981075">
                <a:moveTo>
                  <a:pt x="26924" y="7238"/>
                </a:moveTo>
                <a:lnTo>
                  <a:pt x="10160" y="25907"/>
                </a:lnTo>
                <a:lnTo>
                  <a:pt x="44788" y="56895"/>
                </a:lnTo>
                <a:lnTo>
                  <a:pt x="37139" y="33270"/>
                </a:lnTo>
                <a:lnTo>
                  <a:pt x="16002" y="28956"/>
                </a:lnTo>
                <a:lnTo>
                  <a:pt x="30480" y="12700"/>
                </a:lnTo>
                <a:lnTo>
                  <a:pt x="33027" y="12700"/>
                </a:lnTo>
                <a:lnTo>
                  <a:pt x="26924" y="7238"/>
                </a:lnTo>
                <a:close/>
              </a:path>
              <a:path w="1094740" h="981075">
                <a:moveTo>
                  <a:pt x="35408" y="7238"/>
                </a:moveTo>
                <a:lnTo>
                  <a:pt x="26924" y="7238"/>
                </a:lnTo>
                <a:lnTo>
                  <a:pt x="61594" y="38261"/>
                </a:lnTo>
                <a:lnTo>
                  <a:pt x="109220" y="48006"/>
                </a:lnTo>
                <a:lnTo>
                  <a:pt x="115951" y="43561"/>
                </a:lnTo>
                <a:lnTo>
                  <a:pt x="117348" y="36830"/>
                </a:lnTo>
                <a:lnTo>
                  <a:pt x="118745" y="29971"/>
                </a:lnTo>
                <a:lnTo>
                  <a:pt x="114300" y="23368"/>
                </a:lnTo>
                <a:lnTo>
                  <a:pt x="35408" y="7238"/>
                </a:lnTo>
                <a:close/>
              </a:path>
              <a:path w="1094740" h="981075">
                <a:moveTo>
                  <a:pt x="33027" y="12700"/>
                </a:moveTo>
                <a:lnTo>
                  <a:pt x="30480" y="12700"/>
                </a:lnTo>
                <a:lnTo>
                  <a:pt x="37139" y="33270"/>
                </a:lnTo>
                <a:lnTo>
                  <a:pt x="61594" y="38261"/>
                </a:lnTo>
                <a:lnTo>
                  <a:pt x="33027" y="12700"/>
                </a:lnTo>
                <a:close/>
              </a:path>
              <a:path w="1094740" h="981075">
                <a:moveTo>
                  <a:pt x="30480" y="12700"/>
                </a:moveTo>
                <a:lnTo>
                  <a:pt x="16002" y="28956"/>
                </a:lnTo>
                <a:lnTo>
                  <a:pt x="37139" y="33270"/>
                </a:lnTo>
                <a:lnTo>
                  <a:pt x="30480" y="12700"/>
                </a:lnTo>
                <a:close/>
              </a:path>
            </a:pathLst>
          </a:custGeom>
          <a:solidFill>
            <a:srgbClr val="71B0D3"/>
          </a:solid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0" name="object 10"/>
          <p:cNvSpPr txBox="1"/>
          <p:nvPr/>
        </p:nvSpPr>
        <p:spPr>
          <a:xfrm>
            <a:off x="8484818" y="7637661"/>
            <a:ext cx="3445256" cy="247247"/>
          </a:xfrm>
          <a:prstGeom prst="rect">
            <a:avLst/>
          </a:prstGeom>
        </p:spPr>
        <p:txBody>
          <a:bodyPr vert="horz" wrap="square" lIns="0" tIns="1016" rIns="0" bIns="0" rtlCol="0">
            <a:spAutoFit/>
          </a:bodyPr>
          <a:lstStyle/>
          <a:p>
            <a:pPr marL="20320">
              <a:spcBef>
                <a:spcPts val="8"/>
              </a:spcBef>
            </a:pPr>
            <a:r>
              <a:rPr sz="1600" b="1" dirty="0">
                <a:solidFill>
                  <a:srgbClr val="F1F1F1"/>
                </a:solidFill>
              </a:rPr>
              <a:t>CONFIDENTIAL – Internal Use</a:t>
            </a:r>
            <a:r>
              <a:rPr sz="1600" b="1" spc="-216" dirty="0">
                <a:solidFill>
                  <a:srgbClr val="F1F1F1"/>
                </a:solidFill>
              </a:rPr>
              <a:t> </a:t>
            </a:r>
            <a:r>
              <a:rPr sz="1600" b="1" dirty="0">
                <a:solidFill>
                  <a:srgbClr val="F1F1F1"/>
                </a:solidFill>
              </a:rPr>
              <a:t>Only</a:t>
            </a:r>
            <a:endParaRPr sz="1600"/>
          </a:p>
        </p:txBody>
      </p:sp>
    </p:spTree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9458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en-US" sz="3840" dirty="0"/>
              <a:t>Disposable Resting ECG Electrodes</a:t>
            </a:r>
          </a:p>
        </p:txBody>
      </p:sp>
      <p:sp>
        <p:nvSpPr>
          <p:cNvPr id="659459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121920" y="2230757"/>
            <a:ext cx="9875520" cy="5084445"/>
          </a:xfrm>
        </p:spPr>
        <p:txBody>
          <a:bodyPr>
            <a:normAutofit/>
          </a:bodyPr>
          <a:lstStyle/>
          <a:p>
            <a:pPr lvl="1">
              <a:tabLst>
                <a:tab pos="352426" algn="l"/>
              </a:tabLst>
            </a:pPr>
            <a:endParaRPr lang="en-US" altLang="en-US" sz="2400" dirty="0"/>
          </a:p>
          <a:p>
            <a:pPr lvl="1">
              <a:tabLst>
                <a:tab pos="352426" algn="l"/>
              </a:tabLst>
            </a:pPr>
            <a:r>
              <a:rPr lang="en-US" altLang="en-US" sz="2400" dirty="0"/>
              <a:t>Adhesive gel that adheres to most patients’ skin without skin prep</a:t>
            </a:r>
          </a:p>
          <a:p>
            <a:pPr lvl="1">
              <a:tabLst>
                <a:tab pos="352426" algn="l"/>
              </a:tabLst>
            </a:pPr>
            <a:endParaRPr lang="en-US" altLang="en-US" sz="2400" dirty="0"/>
          </a:p>
          <a:p>
            <a:pPr lvl="1">
              <a:tabLst>
                <a:tab pos="352426" algn="l"/>
              </a:tabLst>
            </a:pPr>
            <a:r>
              <a:rPr lang="en-US" altLang="en-US" sz="2400" dirty="0"/>
              <a:t>Conductive gel provides clear signal</a:t>
            </a:r>
          </a:p>
          <a:p>
            <a:pPr>
              <a:tabLst>
                <a:tab pos="352426" algn="l"/>
              </a:tabLst>
            </a:pPr>
            <a:endParaRPr lang="en-US" altLang="en-US" sz="2880" dirty="0"/>
          </a:p>
        </p:txBody>
      </p:sp>
      <p:pic>
        <p:nvPicPr>
          <p:cNvPr id="659460" name="Picture 4" descr="D:\docs\My Pictures\Electrodes\Mactrode Family small.jpg"/>
          <p:cNvPicPr>
            <a:picLocks noGrp="1" noChangeAspect="1" noChangeArrowheads="1"/>
          </p:cNvPicPr>
          <p:nvPr>
            <p:ph type="clipArt"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927214" y="3399157"/>
            <a:ext cx="4985386" cy="403669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48883069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0482" name="Rectangle 2050"/>
          <p:cNvSpPr>
            <a:spLocks noGrp="1" noChangeArrowheads="1"/>
          </p:cNvSpPr>
          <p:nvPr>
            <p:ph type="title"/>
          </p:nvPr>
        </p:nvSpPr>
        <p:spPr>
          <a:xfrm>
            <a:off x="3287575" y="550469"/>
            <a:ext cx="8055253" cy="1181862"/>
          </a:xfrm>
        </p:spPr>
        <p:txBody>
          <a:bodyPr/>
          <a:lstStyle/>
          <a:p>
            <a:r>
              <a:rPr lang="en-US" altLang="en-US" sz="3840"/>
              <a:t>GE Disposable Resting ECG Electrodes</a:t>
            </a:r>
          </a:p>
        </p:txBody>
      </p:sp>
      <p:sp>
        <p:nvSpPr>
          <p:cNvPr id="660483" name="Rectangle 2051"/>
          <p:cNvSpPr>
            <a:spLocks noGrp="1" noChangeArrowheads="1"/>
          </p:cNvSpPr>
          <p:nvPr>
            <p:ph type="body" idx="1"/>
          </p:nvPr>
        </p:nvSpPr>
        <p:spPr>
          <a:xfrm>
            <a:off x="487680" y="2169383"/>
            <a:ext cx="12757786" cy="2625090"/>
          </a:xfrm>
        </p:spPr>
        <p:txBody>
          <a:bodyPr>
            <a:normAutofit/>
          </a:bodyPr>
          <a:lstStyle/>
          <a:p>
            <a:pPr>
              <a:buFontTx/>
              <a:buChar char="•"/>
              <a:tabLst>
                <a:tab pos="281941" algn="l"/>
              </a:tabLst>
            </a:pPr>
            <a:r>
              <a:rPr lang="en-US" altLang="en-US" sz="2880" dirty="0"/>
              <a:t>Silver </a:t>
            </a:r>
            <a:r>
              <a:rPr lang="en-US" altLang="en-US" sz="2880" dirty="0" err="1"/>
              <a:t>Mactrode</a:t>
            </a:r>
            <a:r>
              <a:rPr lang="en-US" altLang="en-US" sz="2880" dirty="0"/>
              <a:t> Plus, Adult Disposable Resting ECG Electrodes</a:t>
            </a:r>
          </a:p>
          <a:p>
            <a:pPr>
              <a:buFontTx/>
              <a:buChar char="•"/>
              <a:tabLst>
                <a:tab pos="281941" algn="l"/>
              </a:tabLst>
            </a:pPr>
            <a:endParaRPr lang="en-US" altLang="en-US" sz="2880" dirty="0"/>
          </a:p>
          <a:p>
            <a:pPr>
              <a:buFontTx/>
              <a:buChar char="•"/>
              <a:tabLst>
                <a:tab pos="281941" algn="l"/>
              </a:tabLst>
            </a:pPr>
            <a:endParaRPr lang="en-US" altLang="en-US" sz="2880" dirty="0"/>
          </a:p>
          <a:p>
            <a:pPr>
              <a:buFontTx/>
              <a:buChar char="•"/>
              <a:tabLst>
                <a:tab pos="281941" algn="l"/>
              </a:tabLst>
            </a:pPr>
            <a:r>
              <a:rPr lang="en-US" altLang="en-US" sz="2880" dirty="0" err="1"/>
              <a:t>BabyMAC</a:t>
            </a:r>
            <a:r>
              <a:rPr lang="en-US" altLang="en-US" sz="2880" dirty="0"/>
              <a:t>, Neonatal/Pediatric Disposable Resting ECG Electrodes</a:t>
            </a:r>
          </a:p>
        </p:txBody>
      </p:sp>
      <p:pic>
        <p:nvPicPr>
          <p:cNvPr id="660484" name="Picture 2052" descr="D:\docs\My Pictures\Electrodes\3 Mactrodes in a Row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68105" y="4477088"/>
            <a:ext cx="5025390" cy="2830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944325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2075079" y="1960066"/>
            <a:ext cx="8525256" cy="370358"/>
          </a:xfrm>
          <a:prstGeom prst="rect">
            <a:avLst/>
          </a:prstGeom>
        </p:spPr>
        <p:txBody>
          <a:bodyPr vert="horz" wrap="square" lIns="0" tIns="25400" rIns="0" bIns="0" rtlCol="0">
            <a:spAutoFit/>
          </a:bodyPr>
          <a:lstStyle/>
          <a:p>
            <a:pPr marL="20320">
              <a:spcBef>
                <a:spcPts val="200"/>
              </a:spcBef>
            </a:pPr>
            <a:r>
              <a:rPr sz="2240" spc="24" dirty="0">
                <a:solidFill>
                  <a:srgbClr val="0C1524"/>
                </a:solidFill>
                <a:latin typeface="Verdana"/>
                <a:cs typeface="Verdana"/>
              </a:rPr>
              <a:t>GE </a:t>
            </a:r>
            <a:r>
              <a:rPr sz="2240" spc="8" dirty="0">
                <a:solidFill>
                  <a:srgbClr val="0C1524"/>
                </a:solidFill>
                <a:latin typeface="Verdana"/>
                <a:cs typeface="Verdana"/>
              </a:rPr>
              <a:t>Healthcare </a:t>
            </a:r>
            <a:r>
              <a:rPr sz="2240" dirty="0">
                <a:solidFill>
                  <a:srgbClr val="0C1524"/>
                </a:solidFill>
                <a:latin typeface="Verdana"/>
                <a:cs typeface="Verdana"/>
              </a:rPr>
              <a:t>Range </a:t>
            </a:r>
            <a:r>
              <a:rPr sz="2240" spc="8" dirty="0">
                <a:solidFill>
                  <a:srgbClr val="0C1524"/>
                </a:solidFill>
                <a:latin typeface="Verdana"/>
                <a:cs typeface="Verdana"/>
              </a:rPr>
              <a:t>of Monitors </a:t>
            </a:r>
            <a:r>
              <a:rPr sz="2240" spc="16" dirty="0">
                <a:solidFill>
                  <a:srgbClr val="0C1524"/>
                </a:solidFill>
                <a:latin typeface="Verdana"/>
                <a:cs typeface="Verdana"/>
              </a:rPr>
              <a:t>and</a:t>
            </a:r>
            <a:r>
              <a:rPr sz="2240" spc="-144" dirty="0">
                <a:solidFill>
                  <a:srgbClr val="0C1524"/>
                </a:solidFill>
                <a:latin typeface="Verdana"/>
                <a:cs typeface="Verdana"/>
              </a:rPr>
              <a:t> </a:t>
            </a:r>
            <a:r>
              <a:rPr sz="2240" spc="8" dirty="0">
                <a:solidFill>
                  <a:srgbClr val="0C1524"/>
                </a:solidFill>
                <a:latin typeface="Verdana"/>
                <a:cs typeface="Verdana"/>
              </a:rPr>
              <a:t>modules:</a:t>
            </a:r>
            <a:endParaRPr sz="2240" dirty="0">
              <a:latin typeface="Verdana"/>
              <a:cs typeface="Verdan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988516" y="7720381"/>
            <a:ext cx="252984" cy="222625"/>
          </a:xfrm>
          <a:prstGeom prst="rect">
            <a:avLst/>
          </a:prstGeom>
        </p:spPr>
        <p:txBody>
          <a:bodyPr vert="horz" wrap="square" lIns="0" tIns="25400" rIns="0" bIns="0" rtlCol="0">
            <a:spAutoFit/>
          </a:bodyPr>
          <a:lstStyle/>
          <a:p>
            <a:pPr marL="20320">
              <a:spcBef>
                <a:spcPts val="200"/>
              </a:spcBef>
            </a:pPr>
            <a:r>
              <a:rPr sz="1280" spc="16" dirty="0">
                <a:solidFill>
                  <a:srgbClr val="0C1524"/>
                </a:solidFill>
                <a:latin typeface="Verdana"/>
                <a:cs typeface="Verdana"/>
              </a:rPr>
              <a:t>86</a:t>
            </a:r>
            <a:endParaRPr sz="1280">
              <a:latin typeface="Verdana"/>
              <a:cs typeface="Verdan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075078" y="860754"/>
            <a:ext cx="3751072" cy="537583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20320">
              <a:spcBef>
                <a:spcPts val="160"/>
              </a:spcBef>
            </a:pPr>
            <a:r>
              <a:rPr sz="3360" b="1" spc="-16" dirty="0">
                <a:solidFill>
                  <a:srgbClr val="F58023"/>
                </a:solidFill>
                <a:latin typeface="Verdana"/>
                <a:cs typeface="Verdana"/>
              </a:rPr>
              <a:t>ECG</a:t>
            </a:r>
            <a:r>
              <a:rPr sz="3360" b="1" spc="-176" dirty="0">
                <a:solidFill>
                  <a:srgbClr val="F58023"/>
                </a:solidFill>
                <a:latin typeface="Verdana"/>
                <a:cs typeface="Verdana"/>
              </a:rPr>
              <a:t> </a:t>
            </a:r>
            <a:r>
              <a:rPr sz="3360" b="1" spc="-16" dirty="0">
                <a:solidFill>
                  <a:srgbClr val="F58023"/>
                </a:solidFill>
                <a:latin typeface="Verdana"/>
                <a:cs typeface="Verdana"/>
              </a:rPr>
              <a:t>monitoring</a:t>
            </a:r>
            <a:endParaRPr sz="3360">
              <a:latin typeface="Verdana"/>
              <a:cs typeface="Verdana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4996283" y="2333548"/>
            <a:ext cx="3493006" cy="304921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6" name="object 6"/>
          <p:cNvSpPr/>
          <p:nvPr/>
        </p:nvSpPr>
        <p:spPr>
          <a:xfrm>
            <a:off x="1553261" y="2633473"/>
            <a:ext cx="2451811" cy="271028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7" name="object 7"/>
          <p:cNvSpPr/>
          <p:nvPr/>
        </p:nvSpPr>
        <p:spPr>
          <a:xfrm>
            <a:off x="8922105" y="2333548"/>
            <a:ext cx="3880712" cy="294070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8" name="object 8"/>
          <p:cNvSpPr/>
          <p:nvPr/>
        </p:nvSpPr>
        <p:spPr>
          <a:xfrm>
            <a:off x="3035806" y="5274258"/>
            <a:ext cx="3328416" cy="175564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9" name="object 9"/>
          <p:cNvSpPr/>
          <p:nvPr/>
        </p:nvSpPr>
        <p:spPr>
          <a:xfrm>
            <a:off x="13021054" y="4908498"/>
            <a:ext cx="1345997" cy="2121408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</p:spTree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698" name="Rectangle 1026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en-US" sz="3840"/>
              <a:t>Silver Mactrode Plus  … Strong Adhesion</a:t>
            </a:r>
          </a:p>
        </p:txBody>
      </p:sp>
      <p:sp>
        <p:nvSpPr>
          <p:cNvPr id="669699" name="Rectangle 1027"/>
          <p:cNvSpPr>
            <a:spLocks noGrp="1" noChangeArrowheads="1"/>
          </p:cNvSpPr>
          <p:nvPr>
            <p:ph type="body" sz="half" idx="1"/>
          </p:nvPr>
        </p:nvSpPr>
        <p:spPr>
          <a:xfrm>
            <a:off x="243840" y="2072641"/>
            <a:ext cx="10485120" cy="2105192"/>
          </a:xfrm>
        </p:spPr>
        <p:txBody>
          <a:bodyPr>
            <a:normAutofit fontScale="70000" lnSpcReduction="20000"/>
          </a:bodyPr>
          <a:lstStyle/>
          <a:p>
            <a:pPr>
              <a:tabLst>
                <a:tab pos="352426" algn="l"/>
              </a:tabLst>
            </a:pPr>
            <a:r>
              <a:rPr lang="en-US" altLang="en-US" sz="2880" dirty="0"/>
              <a:t>Traditional design provides wide silver tab for easy </a:t>
            </a:r>
            <a:r>
              <a:rPr lang="en-US" altLang="en-US" sz="2880" dirty="0" err="1"/>
              <a:t>leadwire</a:t>
            </a:r>
            <a:r>
              <a:rPr lang="en-US" altLang="en-US" sz="2880" dirty="0"/>
              <a:t> connection</a:t>
            </a:r>
          </a:p>
          <a:p>
            <a:pPr>
              <a:tabLst>
                <a:tab pos="352426" algn="l"/>
              </a:tabLst>
            </a:pPr>
            <a:endParaRPr lang="en-US" altLang="en-US" sz="2880" dirty="0"/>
          </a:p>
          <a:p>
            <a:pPr>
              <a:tabLst>
                <a:tab pos="352426" algn="l"/>
              </a:tabLst>
            </a:pPr>
            <a:r>
              <a:rPr lang="en-US" altLang="en-US" sz="2880" dirty="0"/>
              <a:t>Conductive, aggressive, adhesive gel provides adhesion to patient’s skin</a:t>
            </a:r>
          </a:p>
          <a:p>
            <a:pPr>
              <a:tabLst>
                <a:tab pos="352426" algn="l"/>
              </a:tabLst>
            </a:pPr>
            <a:endParaRPr lang="en-US" altLang="en-US" sz="2880" dirty="0"/>
          </a:p>
          <a:p>
            <a:pPr>
              <a:tabLst>
                <a:tab pos="352426" algn="l"/>
              </a:tabLst>
            </a:pPr>
            <a:r>
              <a:rPr lang="en-US" altLang="en-US" sz="2880" dirty="0"/>
              <a:t>Silver/Silver Chloride construction for quality signal</a:t>
            </a:r>
          </a:p>
          <a:p>
            <a:pPr>
              <a:tabLst>
                <a:tab pos="352426" algn="l"/>
              </a:tabLst>
            </a:pPr>
            <a:endParaRPr lang="en-US" altLang="en-US" sz="2880" dirty="0"/>
          </a:p>
        </p:txBody>
      </p:sp>
      <p:pic>
        <p:nvPicPr>
          <p:cNvPr id="669700" name="Picture 1028" descr="D:\docs\My Pictures\e9001ad.jpg"/>
          <p:cNvPicPr>
            <a:picLocks noGrp="1" noChangeAspect="1" noChangeArrowheads="1"/>
          </p:cNvPicPr>
          <p:nvPr>
            <p:ph type="clipArt"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819335" y="2072641"/>
            <a:ext cx="3625214" cy="5084446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25346716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2770" name="Rectangle 2"/>
          <p:cNvSpPr>
            <a:spLocks noGrp="1" noChangeArrowheads="1"/>
          </p:cNvSpPr>
          <p:nvPr>
            <p:ph type="title"/>
          </p:nvPr>
        </p:nvSpPr>
        <p:spPr>
          <a:xfrm>
            <a:off x="2240281" y="252890"/>
            <a:ext cx="10151746" cy="590931"/>
          </a:xfrm>
        </p:spPr>
        <p:txBody>
          <a:bodyPr/>
          <a:lstStyle/>
          <a:p>
            <a:r>
              <a:rPr lang="en-US" altLang="en-US" sz="3840"/>
              <a:t>BabyMAC … Improved Design</a:t>
            </a:r>
          </a:p>
        </p:txBody>
      </p:sp>
      <p:sp>
        <p:nvSpPr>
          <p:cNvPr id="672771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121921" y="1554481"/>
            <a:ext cx="13289278" cy="3545586"/>
          </a:xfrm>
        </p:spPr>
        <p:txBody>
          <a:bodyPr/>
          <a:lstStyle/>
          <a:p>
            <a:pPr>
              <a:tabLst>
                <a:tab pos="352426" algn="l"/>
              </a:tabLst>
            </a:pPr>
            <a:r>
              <a:rPr lang="en-US" altLang="en-US" sz="2880" dirty="0"/>
              <a:t>Neonatal/</a:t>
            </a:r>
            <a:r>
              <a:rPr lang="en-US" altLang="en-US" sz="2880" dirty="0" err="1"/>
              <a:t>paediatric</a:t>
            </a:r>
            <a:endParaRPr lang="en-US" altLang="en-US" sz="2880" dirty="0"/>
          </a:p>
          <a:p>
            <a:pPr>
              <a:tabLst>
                <a:tab pos="352426" algn="l"/>
              </a:tabLst>
            </a:pPr>
            <a:endParaRPr lang="en-US" altLang="en-US" sz="2880" dirty="0"/>
          </a:p>
          <a:p>
            <a:pPr>
              <a:tabLst>
                <a:tab pos="352426" algn="l"/>
              </a:tabLst>
            </a:pPr>
            <a:r>
              <a:rPr lang="en-US" altLang="en-US" sz="2880" dirty="0"/>
              <a:t>Disposable resting ECG electrode</a:t>
            </a:r>
          </a:p>
          <a:p>
            <a:pPr>
              <a:tabLst>
                <a:tab pos="352426" algn="l"/>
              </a:tabLst>
            </a:pPr>
            <a:endParaRPr lang="en-US" altLang="en-US" sz="2880" dirty="0"/>
          </a:p>
          <a:p>
            <a:pPr>
              <a:tabLst>
                <a:tab pos="352426" algn="l"/>
              </a:tabLst>
            </a:pPr>
            <a:r>
              <a:rPr lang="en-US" altLang="en-US" sz="2880" dirty="0"/>
              <a:t>Larger surface area to provide improved adhesion</a:t>
            </a:r>
          </a:p>
          <a:p>
            <a:pPr>
              <a:tabLst>
                <a:tab pos="352426" algn="l"/>
              </a:tabLst>
            </a:pPr>
            <a:endParaRPr lang="en-US" altLang="en-US" sz="2880" dirty="0"/>
          </a:p>
          <a:p>
            <a:pPr>
              <a:tabLst>
                <a:tab pos="352426" algn="l"/>
              </a:tabLst>
            </a:pPr>
            <a:r>
              <a:rPr lang="en-US" altLang="en-US" sz="2880" dirty="0"/>
              <a:t>Torque-resistant tab to 	</a:t>
            </a:r>
            <a:r>
              <a:rPr lang="en-US" altLang="en-US" sz="2880" dirty="0" err="1"/>
              <a:t>minimise</a:t>
            </a:r>
            <a:r>
              <a:rPr lang="en-US" altLang="en-US" sz="2880" dirty="0"/>
              <a:t> electrode lift</a:t>
            </a:r>
          </a:p>
          <a:p>
            <a:pPr>
              <a:tabLst>
                <a:tab pos="352426" algn="l"/>
              </a:tabLst>
            </a:pPr>
            <a:endParaRPr lang="en-US" altLang="en-US" sz="2880" dirty="0"/>
          </a:p>
        </p:txBody>
      </p:sp>
      <p:pic>
        <p:nvPicPr>
          <p:cNvPr id="672772" name="Picture 4" descr="D:\docs\My Pictures\Mactrode 3\baby.jpg"/>
          <p:cNvPicPr>
            <a:picLocks noGrp="1" noChangeAspect="1" noChangeArrowheads="1"/>
          </p:cNvPicPr>
          <p:nvPr>
            <p:ph type="clipArt" sz="half" idx="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216641" y="5126173"/>
            <a:ext cx="2594610" cy="157734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672773" name="Picture 5" descr="D:\docs\My Pictures\Mactrode 3\baby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16641" y="637342"/>
            <a:ext cx="2594610" cy="1577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2774" name="Picture 6" descr="D:\docs\My Pictures\Mactrode 3\baby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16641" y="2879581"/>
            <a:ext cx="2594610" cy="1577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71512543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42" name="Rectangle 1026"/>
          <p:cNvSpPr>
            <a:spLocks noGrp="1" noChangeArrowheads="1"/>
          </p:cNvSpPr>
          <p:nvPr>
            <p:ph type="title"/>
          </p:nvPr>
        </p:nvSpPr>
        <p:spPr>
          <a:xfrm>
            <a:off x="2240281" y="252890"/>
            <a:ext cx="10151746" cy="590931"/>
          </a:xfrm>
        </p:spPr>
        <p:txBody>
          <a:bodyPr/>
          <a:lstStyle/>
          <a:p>
            <a:r>
              <a:rPr lang="en-US" altLang="en-US" sz="3840"/>
              <a:t>BabyMAC … for the Smallest Patient</a:t>
            </a:r>
          </a:p>
        </p:txBody>
      </p:sp>
      <p:sp>
        <p:nvSpPr>
          <p:cNvPr id="675843" name="Rectangle 1027"/>
          <p:cNvSpPr>
            <a:spLocks noGrp="1" noChangeArrowheads="1"/>
          </p:cNvSpPr>
          <p:nvPr>
            <p:ph type="body" sz="half" idx="1"/>
          </p:nvPr>
        </p:nvSpPr>
        <p:spPr>
          <a:xfrm>
            <a:off x="243842" y="1554481"/>
            <a:ext cx="13045440" cy="1329595"/>
          </a:xfrm>
        </p:spPr>
        <p:txBody>
          <a:bodyPr/>
          <a:lstStyle/>
          <a:p>
            <a:pPr marL="314326" indent="-314326">
              <a:buFontTx/>
              <a:buChar char="•"/>
              <a:tabLst>
                <a:tab pos="314326" algn="l"/>
              </a:tabLst>
            </a:pPr>
            <a:r>
              <a:rPr lang="en-US" altLang="en-US" sz="2880" dirty="0"/>
              <a:t>Less aggressive gel designed for the fragile skin of an infant</a:t>
            </a:r>
          </a:p>
          <a:p>
            <a:pPr marL="314326" indent="-314326">
              <a:buFontTx/>
              <a:buChar char="•"/>
              <a:tabLst>
                <a:tab pos="314326" algn="l"/>
              </a:tabLst>
            </a:pPr>
            <a:endParaRPr lang="en-US" altLang="en-US" sz="2880" dirty="0"/>
          </a:p>
          <a:p>
            <a:pPr marL="314326" indent="-314326">
              <a:buFontTx/>
              <a:buChar char="•"/>
              <a:tabLst>
                <a:tab pos="314326" algn="l"/>
              </a:tabLst>
            </a:pPr>
            <a:r>
              <a:rPr lang="en-US" altLang="en-US" sz="2880" dirty="0"/>
              <a:t>Meets AAMI  electrode standards</a:t>
            </a:r>
          </a:p>
        </p:txBody>
      </p:sp>
      <p:pic>
        <p:nvPicPr>
          <p:cNvPr id="675844" name="Picture 1028" descr="D:\docs\My Pictures\baby\small baby1.jpg"/>
          <p:cNvPicPr>
            <a:picLocks noGrp="1" noChangeAspect="1" noChangeArrowheads="1"/>
          </p:cNvPicPr>
          <p:nvPr>
            <p:ph type="clipArt"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778241" y="3383280"/>
            <a:ext cx="4396741" cy="329755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21161294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02" name="Rectangle 2"/>
          <p:cNvSpPr>
            <a:spLocks noGrp="1" noChangeArrowheads="1"/>
          </p:cNvSpPr>
          <p:nvPr>
            <p:ph type="title"/>
          </p:nvPr>
        </p:nvSpPr>
        <p:spPr>
          <a:xfrm>
            <a:off x="2240281" y="252890"/>
            <a:ext cx="10151746" cy="590931"/>
          </a:xfrm>
        </p:spPr>
        <p:txBody>
          <a:bodyPr/>
          <a:lstStyle/>
          <a:p>
            <a:r>
              <a:rPr lang="en-US" altLang="en-US" sz="3840"/>
              <a:t>Disposable ECG Electrode Competition</a:t>
            </a:r>
          </a:p>
        </p:txBody>
      </p:sp>
      <p:sp>
        <p:nvSpPr>
          <p:cNvPr id="512003" name="Rectangle 3"/>
          <p:cNvSpPr>
            <a:spLocks noGrp="1" noChangeArrowheads="1"/>
          </p:cNvSpPr>
          <p:nvPr>
            <p:ph type="body" sz="half" idx="2"/>
          </p:nvPr>
        </p:nvSpPr>
        <p:spPr>
          <a:xfrm>
            <a:off x="60009" y="548355"/>
            <a:ext cx="13182600" cy="7195819"/>
          </a:xfrm>
        </p:spPr>
        <p:txBody>
          <a:bodyPr/>
          <a:lstStyle/>
          <a:p>
            <a:pPr marL="114300" indent="0">
              <a:buNone/>
            </a:pPr>
            <a:r>
              <a:rPr lang="en-US" altLang="en-US" sz="2000" b="1" dirty="0">
                <a:solidFill>
                  <a:srgbClr val="FF0000"/>
                </a:solidFill>
              </a:rPr>
              <a:t>	</a:t>
            </a:r>
            <a:r>
              <a:rPr lang="en-US" altLang="en-US" sz="2400" b="1" dirty="0">
                <a:solidFill>
                  <a:srgbClr val="FF0000"/>
                </a:solidFill>
              </a:rPr>
              <a:t>Tyco/ Kendall Healthcare Products</a:t>
            </a:r>
          </a:p>
          <a:p>
            <a:pPr lvl="1"/>
            <a:r>
              <a:rPr lang="en-US" altLang="en-US" sz="1760" dirty="0"/>
              <a:t>Full line of Cardiology and Monitoring Electrodes</a:t>
            </a:r>
          </a:p>
          <a:p>
            <a:pPr lvl="1"/>
            <a:r>
              <a:rPr lang="en-US" altLang="en-US" sz="1760" dirty="0"/>
              <a:t>Q Trace</a:t>
            </a:r>
          </a:p>
          <a:p>
            <a:pPr lvl="1"/>
            <a:endParaRPr lang="en-US" altLang="en-US" sz="1760" dirty="0"/>
          </a:p>
          <a:p>
            <a:pPr marL="114300" indent="0">
              <a:buNone/>
            </a:pPr>
            <a:r>
              <a:rPr lang="en-US" altLang="en-US" sz="1920" b="1" dirty="0">
                <a:solidFill>
                  <a:srgbClr val="FF0000"/>
                </a:solidFill>
              </a:rPr>
              <a:t>	</a:t>
            </a:r>
            <a:r>
              <a:rPr lang="en-US" altLang="en-US" sz="2400" b="1" dirty="0" err="1">
                <a:solidFill>
                  <a:srgbClr val="FF0000"/>
                </a:solidFill>
              </a:rPr>
              <a:t>Ambu</a:t>
            </a:r>
            <a:endParaRPr lang="en-US" altLang="en-US" sz="2400" b="1" dirty="0">
              <a:solidFill>
                <a:srgbClr val="FF0000"/>
              </a:solidFill>
            </a:endParaRPr>
          </a:p>
          <a:p>
            <a:pPr lvl="1"/>
            <a:r>
              <a:rPr lang="en-US" altLang="en-US" sz="1760" dirty="0"/>
              <a:t>Full line of Cardiology and Monitoring Electrodes</a:t>
            </a:r>
          </a:p>
          <a:p>
            <a:pPr lvl="1"/>
            <a:r>
              <a:rPr lang="en-US" altLang="en-US" sz="1760" dirty="0"/>
              <a:t>Innovative, high quality</a:t>
            </a:r>
          </a:p>
          <a:p>
            <a:pPr lvl="1"/>
            <a:r>
              <a:rPr lang="en-US" altLang="en-US" sz="1760" dirty="0"/>
              <a:t>Blue Sensor</a:t>
            </a:r>
          </a:p>
          <a:p>
            <a:pPr lvl="1"/>
            <a:endParaRPr lang="en-US" altLang="en-US" sz="1760" dirty="0"/>
          </a:p>
          <a:p>
            <a:pPr marL="571500" lvl="1" indent="0">
              <a:buNone/>
            </a:pPr>
            <a:r>
              <a:rPr lang="en-US" altLang="en-US" sz="2400" b="1" dirty="0">
                <a:solidFill>
                  <a:srgbClr val="FF0000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	3M </a:t>
            </a:r>
          </a:p>
          <a:p>
            <a:pPr lvl="1"/>
            <a:r>
              <a:rPr lang="en-US" altLang="en-US" sz="1760" dirty="0"/>
              <a:t>Electrode manufacturer</a:t>
            </a:r>
          </a:p>
          <a:p>
            <a:pPr lvl="1"/>
            <a:r>
              <a:rPr lang="en-US" altLang="en-US" sz="1760" b="1" dirty="0"/>
              <a:t>Red Dot</a:t>
            </a:r>
            <a:r>
              <a:rPr lang="en-US" altLang="en-US" sz="1760" dirty="0"/>
              <a:t> brand name</a:t>
            </a:r>
          </a:p>
          <a:p>
            <a:pPr lvl="1"/>
            <a:r>
              <a:rPr lang="en-US" altLang="en-US" sz="1760" dirty="0"/>
              <a:t>Full line of Cardiology and Monitoring Electrodes</a:t>
            </a:r>
          </a:p>
          <a:p>
            <a:pPr lvl="1"/>
            <a:endParaRPr lang="en-US" altLang="en-US" sz="1760" dirty="0"/>
          </a:p>
          <a:p>
            <a:pPr marL="571500" lvl="1" indent="0">
              <a:buNone/>
            </a:pPr>
            <a:r>
              <a:rPr lang="en-US" altLang="en-US" sz="1760" b="1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	</a:t>
            </a:r>
            <a:r>
              <a:rPr lang="en-US" altLang="en-US" sz="2400" b="1" dirty="0">
                <a:solidFill>
                  <a:srgbClr val="FF0000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Medtronic</a:t>
            </a:r>
            <a:endParaRPr lang="en-US" altLang="en-US" sz="24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r>
              <a:rPr lang="en-US" altLang="en-US" sz="1760" dirty="0" err="1"/>
              <a:t>Fastrace</a:t>
            </a:r>
            <a:r>
              <a:rPr lang="en-US" altLang="en-US" sz="1760" dirty="0"/>
              <a:t> 4</a:t>
            </a:r>
          </a:p>
          <a:p>
            <a:pPr lvl="1"/>
            <a:endParaRPr lang="en-US" altLang="en-US" sz="24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71500" lvl="1" indent="0">
              <a:buNone/>
            </a:pPr>
            <a:r>
              <a:rPr lang="en-US" altLang="en-US" sz="2400" b="1" dirty="0">
                <a:solidFill>
                  <a:srgbClr val="FF0000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	</a:t>
            </a:r>
            <a:r>
              <a:rPr lang="en-US" altLang="en-US" sz="2400" b="1" dirty="0" err="1">
                <a:solidFill>
                  <a:srgbClr val="FF0000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Conmed</a:t>
            </a:r>
            <a:endParaRPr lang="en-US" altLang="en-US" sz="24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r>
              <a:rPr lang="en-US" altLang="en-US" sz="1760" dirty="0"/>
              <a:t>Heartbeat</a:t>
            </a:r>
          </a:p>
          <a:p>
            <a:pPr lvl="1"/>
            <a:endParaRPr lang="en-US" altLang="en-US" sz="1920" dirty="0"/>
          </a:p>
        </p:txBody>
      </p:sp>
      <p:pic>
        <p:nvPicPr>
          <p:cNvPr id="512004" name="Picture 4" descr="C:\Documents and Settings\Owner\My Documents\My Pictures\red dot 2.jpg"/>
          <p:cNvPicPr>
            <a:picLocks noGrp="1" noChangeAspect="1" noChangeArrowheads="1"/>
          </p:cNvPicPr>
          <p:nvPr>
            <p:ph type="clipArt"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335554" y="3964598"/>
            <a:ext cx="4625341" cy="300990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5" name="Picture 2053" descr="d:\docs\My Pictures\Electrodes\ambu blue sensor SU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41443" y="3139441"/>
            <a:ext cx="1701166" cy="17964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052" descr="C:\Documents and Settings\Owner\My Documents\My Pictures\qtrace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713219" y="879847"/>
            <a:ext cx="4358640" cy="303276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1268" name="Picture 4" descr="Ambu Blue Sensor SP ECG Electrodes - Numed Healthcare | Numed ...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48161" y="506182"/>
            <a:ext cx="2189480" cy="2189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6457211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503423" y="279140"/>
            <a:ext cx="8689848" cy="600164"/>
          </a:xfrm>
          <a:prstGeom prst="rect">
            <a:avLst/>
          </a:prstGeom>
        </p:spPr>
        <p:txBody>
          <a:bodyPr spcFirstLastPara="1" vert="horz" wrap="square" lIns="0" tIns="20320" rIns="0" bIns="0" rtlCol="0" anchor="ctr" anchorCtr="0">
            <a:spAutoFit/>
          </a:bodyPr>
          <a:lstStyle/>
          <a:p>
            <a:pPr marL="20320">
              <a:lnSpc>
                <a:spcPct val="100000"/>
              </a:lnSpc>
              <a:spcBef>
                <a:spcPts val="160"/>
              </a:spcBef>
            </a:pPr>
            <a:r>
              <a:rPr u="none" dirty="0"/>
              <a:t>Electrodes – choose the right</a:t>
            </a:r>
            <a:r>
              <a:rPr spc="-88" dirty="0"/>
              <a:t> </a:t>
            </a:r>
            <a:r>
              <a:rPr u="none" dirty="0"/>
              <a:t>one!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5205984" y="1210258"/>
            <a:ext cx="3793744" cy="495007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1209040" lvl="1" indent="-458216">
              <a:lnSpc>
                <a:spcPts val="1816"/>
              </a:lnSpc>
              <a:buClr>
                <a:srgbClr val="71B0D3"/>
              </a:buClr>
              <a:buChar char="–"/>
              <a:tabLst>
                <a:tab pos="1209040" algn="l"/>
                <a:tab pos="1210056" algn="l"/>
              </a:tabLst>
            </a:pPr>
            <a:r>
              <a:rPr sz="1680" spc="-8" dirty="0">
                <a:solidFill>
                  <a:srgbClr val="517AC6"/>
                </a:solidFill>
              </a:rPr>
              <a:t>Foam</a:t>
            </a:r>
            <a:endParaRPr sz="1680" dirty="0"/>
          </a:p>
          <a:p>
            <a:pPr marL="1209040" lvl="1" indent="-458216">
              <a:lnSpc>
                <a:spcPts val="1912"/>
              </a:lnSpc>
              <a:buClr>
                <a:srgbClr val="71B0D3"/>
              </a:buClr>
              <a:buChar char="–"/>
              <a:tabLst>
                <a:tab pos="1209040" algn="l"/>
                <a:tab pos="1210056" algn="l"/>
              </a:tabLst>
            </a:pPr>
            <a:r>
              <a:rPr sz="1680" spc="-8" dirty="0">
                <a:solidFill>
                  <a:srgbClr val="517AC6"/>
                </a:solidFill>
              </a:rPr>
              <a:t>Clear</a:t>
            </a:r>
            <a:r>
              <a:rPr sz="1680" spc="16" dirty="0">
                <a:solidFill>
                  <a:srgbClr val="517AC6"/>
                </a:solidFill>
              </a:rPr>
              <a:t> </a:t>
            </a:r>
            <a:r>
              <a:rPr sz="1680" spc="-8" dirty="0">
                <a:solidFill>
                  <a:srgbClr val="517AC6"/>
                </a:solidFill>
              </a:rPr>
              <a:t>Tape</a:t>
            </a:r>
            <a:endParaRPr sz="1680" dirty="0"/>
          </a:p>
        </p:txBody>
      </p:sp>
      <p:sp>
        <p:nvSpPr>
          <p:cNvPr id="4" name="object 4"/>
          <p:cNvSpPr txBox="1"/>
          <p:nvPr/>
        </p:nvSpPr>
        <p:spPr>
          <a:xfrm>
            <a:off x="5205985" y="2313634"/>
            <a:ext cx="5494526" cy="738664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576072" indent="-556768">
              <a:lnSpc>
                <a:spcPts val="1912"/>
              </a:lnSpc>
              <a:spcBef>
                <a:spcPts val="160"/>
              </a:spcBef>
              <a:buClr>
                <a:srgbClr val="71B0D3"/>
              </a:buClr>
              <a:buChar char="•"/>
              <a:tabLst>
                <a:tab pos="576072" algn="l"/>
                <a:tab pos="577088" algn="l"/>
              </a:tabLst>
            </a:pPr>
            <a:r>
              <a:rPr sz="1680" spc="-8" dirty="0">
                <a:solidFill>
                  <a:srgbClr val="517AC6"/>
                </a:solidFill>
              </a:rPr>
              <a:t>High volume </a:t>
            </a:r>
            <a:r>
              <a:rPr sz="1680" dirty="0">
                <a:solidFill>
                  <a:srgbClr val="517AC6"/>
                </a:solidFill>
              </a:rPr>
              <a:t>– </a:t>
            </a:r>
            <a:r>
              <a:rPr sz="1680" spc="-8" dirty="0">
                <a:solidFill>
                  <a:srgbClr val="517AC6"/>
                </a:solidFill>
              </a:rPr>
              <a:t>quick </a:t>
            </a:r>
            <a:r>
              <a:rPr sz="1680" dirty="0">
                <a:solidFill>
                  <a:srgbClr val="517AC6"/>
                </a:solidFill>
              </a:rPr>
              <a:t>– cost</a:t>
            </a:r>
            <a:r>
              <a:rPr sz="1680" spc="48" dirty="0">
                <a:solidFill>
                  <a:srgbClr val="517AC6"/>
                </a:solidFill>
              </a:rPr>
              <a:t> </a:t>
            </a:r>
            <a:r>
              <a:rPr sz="1680" spc="-8" dirty="0">
                <a:solidFill>
                  <a:srgbClr val="517AC6"/>
                </a:solidFill>
              </a:rPr>
              <a:t>pressure</a:t>
            </a:r>
            <a:endParaRPr sz="1680" dirty="0"/>
          </a:p>
          <a:p>
            <a:pPr marL="1209040" lvl="1" indent="-458216">
              <a:lnSpc>
                <a:spcPts val="1816"/>
              </a:lnSpc>
              <a:buClr>
                <a:srgbClr val="71B0D3"/>
              </a:buClr>
              <a:buChar char="–"/>
              <a:tabLst>
                <a:tab pos="1209040" algn="l"/>
                <a:tab pos="1210056" algn="l"/>
              </a:tabLst>
            </a:pPr>
            <a:r>
              <a:rPr sz="1680" dirty="0">
                <a:solidFill>
                  <a:srgbClr val="517AC6"/>
                </a:solidFill>
              </a:rPr>
              <a:t>Offer </a:t>
            </a:r>
            <a:r>
              <a:rPr sz="1680" spc="-8" dirty="0">
                <a:solidFill>
                  <a:srgbClr val="517AC6"/>
                </a:solidFill>
              </a:rPr>
              <a:t>Vital Signs</a:t>
            </a:r>
            <a:r>
              <a:rPr sz="1680" spc="-24" dirty="0">
                <a:solidFill>
                  <a:srgbClr val="517AC6"/>
                </a:solidFill>
              </a:rPr>
              <a:t> </a:t>
            </a:r>
            <a:r>
              <a:rPr sz="1680" spc="-8" dirty="0">
                <a:solidFill>
                  <a:srgbClr val="517AC6"/>
                </a:solidFill>
              </a:rPr>
              <a:t>line</a:t>
            </a:r>
            <a:endParaRPr sz="1680" dirty="0"/>
          </a:p>
          <a:p>
            <a:pPr marL="1209040" lvl="1" indent="-458216">
              <a:lnSpc>
                <a:spcPts val="1912"/>
              </a:lnSpc>
              <a:buClr>
                <a:srgbClr val="71B0D3"/>
              </a:buClr>
              <a:buChar char="–"/>
              <a:tabLst>
                <a:tab pos="1209040" algn="l"/>
                <a:tab pos="1210056" algn="l"/>
              </a:tabLst>
            </a:pPr>
            <a:r>
              <a:rPr sz="1680" spc="-8" dirty="0">
                <a:solidFill>
                  <a:srgbClr val="517AC6"/>
                </a:solidFill>
              </a:rPr>
              <a:t>Material will depend on </a:t>
            </a:r>
            <a:r>
              <a:rPr sz="1680" dirty="0">
                <a:solidFill>
                  <a:srgbClr val="517AC6"/>
                </a:solidFill>
              </a:rPr>
              <a:t>customer</a:t>
            </a:r>
            <a:r>
              <a:rPr sz="1680" spc="128" dirty="0">
                <a:solidFill>
                  <a:srgbClr val="517AC6"/>
                </a:solidFill>
              </a:rPr>
              <a:t> </a:t>
            </a:r>
            <a:r>
              <a:rPr sz="1680" spc="-8" dirty="0">
                <a:solidFill>
                  <a:srgbClr val="517AC6"/>
                </a:solidFill>
              </a:rPr>
              <a:t>preference</a:t>
            </a:r>
            <a:endParaRPr sz="1680" dirty="0"/>
          </a:p>
        </p:txBody>
      </p:sp>
      <p:sp>
        <p:nvSpPr>
          <p:cNvPr id="5" name="object 5"/>
          <p:cNvSpPr txBox="1"/>
          <p:nvPr/>
        </p:nvSpPr>
        <p:spPr>
          <a:xfrm>
            <a:off x="5205985" y="3415792"/>
            <a:ext cx="4755896" cy="969496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576072" indent="-556768">
              <a:lnSpc>
                <a:spcPts val="1912"/>
              </a:lnSpc>
              <a:spcBef>
                <a:spcPts val="160"/>
              </a:spcBef>
              <a:buClr>
                <a:srgbClr val="71B0D3"/>
              </a:buClr>
              <a:buChar char="•"/>
              <a:tabLst>
                <a:tab pos="576072" algn="l"/>
                <a:tab pos="577088" algn="l"/>
              </a:tabLst>
            </a:pPr>
            <a:r>
              <a:rPr sz="1680" spc="-8" dirty="0">
                <a:solidFill>
                  <a:srgbClr val="517AC6"/>
                </a:solidFill>
              </a:rPr>
              <a:t>Requires quick set-up </a:t>
            </a:r>
            <a:r>
              <a:rPr sz="1680" dirty="0">
                <a:solidFill>
                  <a:srgbClr val="517AC6"/>
                </a:solidFill>
              </a:rPr>
              <a:t>for </a:t>
            </a:r>
            <a:r>
              <a:rPr sz="1680" spc="-8" dirty="0">
                <a:solidFill>
                  <a:srgbClr val="517AC6"/>
                </a:solidFill>
              </a:rPr>
              <a:t>a quick</a:t>
            </a:r>
            <a:r>
              <a:rPr sz="1680" spc="48" dirty="0">
                <a:solidFill>
                  <a:srgbClr val="517AC6"/>
                </a:solidFill>
              </a:rPr>
              <a:t> </a:t>
            </a:r>
            <a:r>
              <a:rPr sz="1680" dirty="0">
                <a:solidFill>
                  <a:srgbClr val="517AC6"/>
                </a:solidFill>
              </a:rPr>
              <a:t>test</a:t>
            </a:r>
            <a:endParaRPr sz="1680"/>
          </a:p>
          <a:p>
            <a:pPr marL="1209040" lvl="1" indent="-458216">
              <a:lnSpc>
                <a:spcPts val="1816"/>
              </a:lnSpc>
              <a:buClr>
                <a:srgbClr val="71B0D3"/>
              </a:buClr>
              <a:buChar char="–"/>
              <a:tabLst>
                <a:tab pos="1209040" algn="l"/>
                <a:tab pos="1210056" algn="l"/>
              </a:tabLst>
            </a:pPr>
            <a:r>
              <a:rPr sz="1680" dirty="0">
                <a:solidFill>
                  <a:srgbClr val="517AC6"/>
                </a:solidFill>
              </a:rPr>
              <a:t>Mostly</a:t>
            </a:r>
            <a:r>
              <a:rPr sz="1680" spc="-24" dirty="0">
                <a:solidFill>
                  <a:srgbClr val="517AC6"/>
                </a:solidFill>
              </a:rPr>
              <a:t> </a:t>
            </a:r>
            <a:r>
              <a:rPr sz="1680" dirty="0">
                <a:solidFill>
                  <a:srgbClr val="517AC6"/>
                </a:solidFill>
              </a:rPr>
              <a:t>tab</a:t>
            </a:r>
            <a:endParaRPr sz="1680"/>
          </a:p>
          <a:p>
            <a:pPr marL="1209040" lvl="1" indent="-458216">
              <a:lnSpc>
                <a:spcPts val="1816"/>
              </a:lnSpc>
              <a:buClr>
                <a:srgbClr val="71B0D3"/>
              </a:buClr>
              <a:buChar char="–"/>
              <a:tabLst>
                <a:tab pos="1209040" algn="l"/>
                <a:tab pos="1210056" algn="l"/>
              </a:tabLst>
            </a:pPr>
            <a:r>
              <a:rPr sz="1680" dirty="0">
                <a:solidFill>
                  <a:srgbClr val="517AC6"/>
                </a:solidFill>
              </a:rPr>
              <a:t>Price: Vital </a:t>
            </a:r>
            <a:r>
              <a:rPr sz="1680" spc="-8" dirty="0">
                <a:solidFill>
                  <a:srgbClr val="517AC6"/>
                </a:solidFill>
              </a:rPr>
              <a:t>Signs</a:t>
            </a:r>
            <a:r>
              <a:rPr sz="1680" spc="-24" dirty="0">
                <a:solidFill>
                  <a:srgbClr val="517AC6"/>
                </a:solidFill>
              </a:rPr>
              <a:t> </a:t>
            </a:r>
            <a:r>
              <a:rPr sz="1680" dirty="0">
                <a:solidFill>
                  <a:srgbClr val="517AC6"/>
                </a:solidFill>
              </a:rPr>
              <a:t>line</a:t>
            </a:r>
            <a:endParaRPr sz="1680"/>
          </a:p>
          <a:p>
            <a:pPr marL="1209040" lvl="1" indent="-458216">
              <a:lnSpc>
                <a:spcPts val="1920"/>
              </a:lnSpc>
              <a:buClr>
                <a:srgbClr val="71B0D3"/>
              </a:buClr>
              <a:buChar char="–"/>
              <a:tabLst>
                <a:tab pos="1209040" algn="l"/>
                <a:tab pos="1210056" algn="l"/>
              </a:tabLst>
            </a:pPr>
            <a:r>
              <a:rPr sz="1680" spc="-8" dirty="0">
                <a:solidFill>
                  <a:srgbClr val="517AC6"/>
                </a:solidFill>
              </a:rPr>
              <a:t>Quality </a:t>
            </a:r>
            <a:r>
              <a:rPr sz="1680" dirty="0">
                <a:solidFill>
                  <a:srgbClr val="517AC6"/>
                </a:solidFill>
              </a:rPr>
              <a:t>/ </a:t>
            </a:r>
            <a:r>
              <a:rPr sz="1680" spc="-8" dirty="0">
                <a:solidFill>
                  <a:srgbClr val="517AC6"/>
                </a:solidFill>
              </a:rPr>
              <a:t>Defib recoverable:</a:t>
            </a:r>
            <a:r>
              <a:rPr sz="1680" spc="72" dirty="0">
                <a:solidFill>
                  <a:srgbClr val="517AC6"/>
                </a:solidFill>
              </a:rPr>
              <a:t> </a:t>
            </a:r>
            <a:r>
              <a:rPr sz="1680" spc="-8" dirty="0">
                <a:solidFill>
                  <a:srgbClr val="517AC6"/>
                </a:solidFill>
              </a:rPr>
              <a:t>Mactrode</a:t>
            </a:r>
            <a:endParaRPr sz="1680"/>
          </a:p>
        </p:txBody>
      </p:sp>
      <p:sp>
        <p:nvSpPr>
          <p:cNvPr id="6" name="object 6"/>
          <p:cNvSpPr txBox="1"/>
          <p:nvPr/>
        </p:nvSpPr>
        <p:spPr>
          <a:xfrm>
            <a:off x="5205984" y="4700016"/>
            <a:ext cx="5027168" cy="495007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576072" indent="-556768">
              <a:lnSpc>
                <a:spcPts val="1912"/>
              </a:lnSpc>
              <a:spcBef>
                <a:spcPts val="160"/>
              </a:spcBef>
              <a:buClr>
                <a:srgbClr val="71B0D3"/>
              </a:buClr>
              <a:buChar char="•"/>
              <a:tabLst>
                <a:tab pos="576072" algn="l"/>
                <a:tab pos="577088" algn="l"/>
              </a:tabLst>
            </a:pPr>
            <a:r>
              <a:rPr sz="1680" spc="-8" dirty="0">
                <a:solidFill>
                  <a:srgbClr val="517AC6"/>
                </a:solidFill>
              </a:rPr>
              <a:t>Requires stay-on</a:t>
            </a:r>
            <a:r>
              <a:rPr sz="1680" spc="32" dirty="0">
                <a:solidFill>
                  <a:srgbClr val="517AC6"/>
                </a:solidFill>
              </a:rPr>
              <a:t> </a:t>
            </a:r>
            <a:r>
              <a:rPr sz="1680" spc="-8" dirty="0">
                <a:solidFill>
                  <a:srgbClr val="517AC6"/>
                </a:solidFill>
              </a:rPr>
              <a:t>power</a:t>
            </a:r>
            <a:endParaRPr sz="1680" dirty="0"/>
          </a:p>
          <a:p>
            <a:pPr marL="1209040" lvl="1" indent="-458216">
              <a:lnSpc>
                <a:spcPts val="1816"/>
              </a:lnSpc>
              <a:buClr>
                <a:srgbClr val="71B0D3"/>
              </a:buClr>
              <a:buChar char="–"/>
              <a:tabLst>
                <a:tab pos="1209040" algn="l"/>
                <a:tab pos="1210056" algn="l"/>
              </a:tabLst>
            </a:pPr>
            <a:r>
              <a:rPr sz="1680" dirty="0">
                <a:solidFill>
                  <a:srgbClr val="517AC6"/>
                </a:solidFill>
              </a:rPr>
              <a:t>Offer </a:t>
            </a:r>
            <a:r>
              <a:rPr sz="1680" spc="-8" dirty="0">
                <a:solidFill>
                  <a:srgbClr val="517AC6"/>
                </a:solidFill>
              </a:rPr>
              <a:t>aggressive adhesive </a:t>
            </a:r>
            <a:r>
              <a:rPr sz="1680" dirty="0">
                <a:solidFill>
                  <a:srgbClr val="517AC6"/>
                </a:solidFill>
              </a:rPr>
              <a:t>–</a:t>
            </a:r>
            <a:r>
              <a:rPr sz="1680" spc="56" dirty="0">
                <a:solidFill>
                  <a:srgbClr val="517AC6"/>
                </a:solidFill>
              </a:rPr>
              <a:t> </a:t>
            </a:r>
            <a:r>
              <a:rPr sz="1680" spc="-8" dirty="0" err="1">
                <a:solidFill>
                  <a:srgbClr val="517AC6"/>
                </a:solidFill>
              </a:rPr>
              <a:t>SilverTrace</a:t>
            </a:r>
            <a:endParaRPr sz="1680" dirty="0"/>
          </a:p>
        </p:txBody>
      </p:sp>
      <p:sp>
        <p:nvSpPr>
          <p:cNvPr id="7" name="object 7"/>
          <p:cNvSpPr txBox="1"/>
          <p:nvPr/>
        </p:nvSpPr>
        <p:spPr>
          <a:xfrm>
            <a:off x="5205984" y="5720485"/>
            <a:ext cx="6986016" cy="956672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576072" indent="-556768">
              <a:lnSpc>
                <a:spcPts val="1912"/>
              </a:lnSpc>
              <a:spcBef>
                <a:spcPts val="160"/>
              </a:spcBef>
              <a:buClr>
                <a:srgbClr val="71B0D3"/>
              </a:buClr>
              <a:buChar char="•"/>
              <a:tabLst>
                <a:tab pos="576072" algn="l"/>
                <a:tab pos="577088" algn="l"/>
              </a:tabLst>
            </a:pPr>
            <a:r>
              <a:rPr sz="1680" spc="-8" dirty="0">
                <a:solidFill>
                  <a:srgbClr val="517AC6"/>
                </a:solidFill>
              </a:rPr>
              <a:t>Marketing</a:t>
            </a:r>
            <a:r>
              <a:rPr sz="1680" spc="8" dirty="0">
                <a:solidFill>
                  <a:srgbClr val="517AC6"/>
                </a:solidFill>
              </a:rPr>
              <a:t> </a:t>
            </a:r>
            <a:r>
              <a:rPr sz="1680" dirty="0">
                <a:solidFill>
                  <a:srgbClr val="517AC6"/>
                </a:solidFill>
              </a:rPr>
              <a:t>pitch!</a:t>
            </a:r>
            <a:endParaRPr sz="1680" dirty="0"/>
          </a:p>
          <a:p>
            <a:pPr marL="1209040" lvl="1" indent="-458216">
              <a:lnSpc>
                <a:spcPts val="1816"/>
              </a:lnSpc>
              <a:buClr>
                <a:srgbClr val="71B0D3"/>
              </a:buClr>
              <a:buChar char="–"/>
              <a:tabLst>
                <a:tab pos="1209040" algn="l"/>
                <a:tab pos="1210056" algn="l"/>
              </a:tabLst>
            </a:pPr>
            <a:r>
              <a:rPr sz="1680" dirty="0">
                <a:solidFill>
                  <a:srgbClr val="517AC6"/>
                </a:solidFill>
              </a:rPr>
              <a:t>Offer </a:t>
            </a:r>
            <a:r>
              <a:rPr sz="1680" spc="-8" dirty="0">
                <a:solidFill>
                  <a:srgbClr val="517AC6"/>
                </a:solidFill>
              </a:rPr>
              <a:t>cloth </a:t>
            </a:r>
            <a:r>
              <a:rPr sz="1680" dirty="0">
                <a:solidFill>
                  <a:srgbClr val="517AC6"/>
                </a:solidFill>
              </a:rPr>
              <a:t>-</a:t>
            </a:r>
            <a:r>
              <a:rPr sz="1680" spc="-48" dirty="0">
                <a:solidFill>
                  <a:srgbClr val="517AC6"/>
                </a:solidFill>
              </a:rPr>
              <a:t> </a:t>
            </a:r>
            <a:r>
              <a:rPr sz="1680" spc="-8" dirty="0">
                <a:solidFill>
                  <a:srgbClr val="517AC6"/>
                </a:solidFill>
              </a:rPr>
              <a:t>breathable</a:t>
            </a:r>
            <a:endParaRPr sz="1680" dirty="0"/>
          </a:p>
          <a:p>
            <a:pPr marL="1209040" lvl="1" indent="-458216">
              <a:lnSpc>
                <a:spcPts val="1816"/>
              </a:lnSpc>
              <a:buClr>
                <a:srgbClr val="71B0D3"/>
              </a:buClr>
              <a:buChar char="–"/>
              <a:tabLst>
                <a:tab pos="1209040" algn="l"/>
                <a:tab pos="1210056" algn="l"/>
              </a:tabLst>
            </a:pPr>
            <a:r>
              <a:rPr sz="1680" spc="-8" dirty="0">
                <a:solidFill>
                  <a:srgbClr val="517AC6"/>
                </a:solidFill>
              </a:rPr>
              <a:t>Clear tape </a:t>
            </a:r>
            <a:r>
              <a:rPr sz="1680" dirty="0">
                <a:solidFill>
                  <a:srgbClr val="517AC6"/>
                </a:solidFill>
              </a:rPr>
              <a:t>for </a:t>
            </a:r>
            <a:r>
              <a:rPr sz="1680" spc="-8" dirty="0" err="1">
                <a:solidFill>
                  <a:srgbClr val="517AC6"/>
                </a:solidFill>
              </a:rPr>
              <a:t>visuali</a:t>
            </a:r>
            <a:r>
              <a:rPr lang="en-GB" sz="1680" spc="-8" dirty="0">
                <a:solidFill>
                  <a:srgbClr val="517AC6"/>
                </a:solidFill>
              </a:rPr>
              <a:t>s</a:t>
            </a:r>
            <a:r>
              <a:rPr sz="1680" spc="-8" dirty="0" err="1">
                <a:solidFill>
                  <a:srgbClr val="517AC6"/>
                </a:solidFill>
              </a:rPr>
              <a:t>ation</a:t>
            </a:r>
            <a:endParaRPr sz="1680" dirty="0"/>
          </a:p>
          <a:p>
            <a:pPr marL="1209040" lvl="1" indent="-458216">
              <a:lnSpc>
                <a:spcPts val="1792"/>
              </a:lnSpc>
              <a:buClr>
                <a:srgbClr val="71B0D3"/>
              </a:buClr>
              <a:buChar char="–"/>
              <a:tabLst>
                <a:tab pos="1209040" algn="l"/>
                <a:tab pos="1210056" algn="l"/>
              </a:tabLst>
            </a:pPr>
            <a:r>
              <a:rPr sz="1680" spc="-8" dirty="0">
                <a:solidFill>
                  <a:srgbClr val="517AC6"/>
                </a:solidFill>
              </a:rPr>
              <a:t>Do not </a:t>
            </a:r>
            <a:r>
              <a:rPr sz="1680" dirty="0">
                <a:solidFill>
                  <a:srgbClr val="517AC6"/>
                </a:solidFill>
              </a:rPr>
              <a:t>offer</a:t>
            </a:r>
            <a:r>
              <a:rPr sz="1680" spc="-16" dirty="0">
                <a:solidFill>
                  <a:srgbClr val="517AC6"/>
                </a:solidFill>
              </a:rPr>
              <a:t> </a:t>
            </a:r>
            <a:r>
              <a:rPr sz="1680" spc="-8" dirty="0">
                <a:solidFill>
                  <a:srgbClr val="517AC6"/>
                </a:solidFill>
              </a:rPr>
              <a:t>aggressive</a:t>
            </a:r>
            <a:r>
              <a:rPr lang="en-GB" sz="1680" dirty="0"/>
              <a:t> </a:t>
            </a:r>
            <a:r>
              <a:rPr sz="1680" spc="-8" dirty="0">
                <a:solidFill>
                  <a:srgbClr val="517AC6"/>
                </a:solidFill>
              </a:rPr>
              <a:t>adhesive/stress </a:t>
            </a:r>
            <a:r>
              <a:rPr sz="1680" dirty="0">
                <a:solidFill>
                  <a:srgbClr val="517AC6"/>
                </a:solidFill>
              </a:rPr>
              <a:t>test </a:t>
            </a:r>
            <a:r>
              <a:rPr sz="1680" spc="-8" dirty="0">
                <a:solidFill>
                  <a:srgbClr val="517AC6"/>
                </a:solidFill>
              </a:rPr>
              <a:t>electrode</a:t>
            </a:r>
            <a:r>
              <a:rPr sz="1920" spc="-8" dirty="0">
                <a:solidFill>
                  <a:srgbClr val="517AC6"/>
                </a:solidFill>
              </a:rPr>
              <a:t>!</a:t>
            </a:r>
            <a:endParaRPr sz="1920" dirty="0"/>
          </a:p>
        </p:txBody>
      </p:sp>
      <p:sp>
        <p:nvSpPr>
          <p:cNvPr id="8" name="object 8"/>
          <p:cNvSpPr txBox="1"/>
          <p:nvPr/>
        </p:nvSpPr>
        <p:spPr>
          <a:xfrm>
            <a:off x="1954783" y="7545223"/>
            <a:ext cx="176782" cy="611449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20320">
              <a:spcBef>
                <a:spcPts val="160"/>
              </a:spcBef>
            </a:pPr>
            <a:r>
              <a:rPr sz="1920" spc="-8" dirty="0">
                <a:solidFill>
                  <a:srgbClr val="71B0D3"/>
                </a:solidFill>
              </a:rPr>
              <a:t>2</a:t>
            </a:r>
            <a:endParaRPr sz="1920"/>
          </a:p>
          <a:p>
            <a:pPr marL="20320"/>
            <a:r>
              <a:rPr sz="1920" spc="-8" dirty="0">
                <a:solidFill>
                  <a:srgbClr val="71B0D3"/>
                </a:solidFill>
              </a:rPr>
              <a:t>6</a:t>
            </a:r>
            <a:endParaRPr sz="1920"/>
          </a:p>
        </p:txBody>
      </p:sp>
      <p:sp>
        <p:nvSpPr>
          <p:cNvPr id="9" name="object 9"/>
          <p:cNvSpPr/>
          <p:nvPr/>
        </p:nvSpPr>
        <p:spPr>
          <a:xfrm>
            <a:off x="2546875" y="1199448"/>
            <a:ext cx="2454314" cy="93317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0" name="object 10"/>
          <p:cNvSpPr/>
          <p:nvPr/>
        </p:nvSpPr>
        <p:spPr>
          <a:xfrm>
            <a:off x="3274771" y="1325270"/>
            <a:ext cx="996086" cy="77175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1" name="object 11"/>
          <p:cNvSpPr/>
          <p:nvPr/>
        </p:nvSpPr>
        <p:spPr>
          <a:xfrm>
            <a:off x="2590801" y="1211884"/>
            <a:ext cx="2366466" cy="84490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2" name="object 12"/>
          <p:cNvSpPr txBox="1"/>
          <p:nvPr/>
        </p:nvSpPr>
        <p:spPr>
          <a:xfrm>
            <a:off x="2590800" y="1428902"/>
            <a:ext cx="2367280" cy="389850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algn="ctr">
              <a:spcBef>
                <a:spcPts val="160"/>
              </a:spcBef>
            </a:pPr>
            <a:r>
              <a:rPr sz="2400" b="1" dirty="0">
                <a:solidFill>
                  <a:srgbClr val="404040"/>
                </a:solidFill>
                <a:latin typeface="Verdana"/>
                <a:cs typeface="Verdana"/>
              </a:rPr>
              <a:t>OR</a:t>
            </a:r>
            <a:endParaRPr sz="2400">
              <a:latin typeface="Verdana"/>
              <a:cs typeface="Verdana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2546875" y="2332085"/>
            <a:ext cx="2454314" cy="93317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4" name="object 14"/>
          <p:cNvSpPr/>
          <p:nvPr/>
        </p:nvSpPr>
        <p:spPr>
          <a:xfrm>
            <a:off x="2860241" y="2275025"/>
            <a:ext cx="1929994" cy="113751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5" name="object 15"/>
          <p:cNvSpPr txBox="1"/>
          <p:nvPr/>
        </p:nvSpPr>
        <p:spPr>
          <a:xfrm>
            <a:off x="2590800" y="2344520"/>
            <a:ext cx="2367280" cy="794064"/>
          </a:xfrm>
          <a:prstGeom prst="rect">
            <a:avLst/>
          </a:prstGeom>
          <a:solidFill>
            <a:srgbClr val="E6DFEB"/>
          </a:solidFill>
        </p:spPr>
        <p:txBody>
          <a:bodyPr vert="horz" wrap="square" lIns="0" tIns="54864" rIns="0" bIns="0" rtlCol="0">
            <a:spAutoFit/>
          </a:bodyPr>
          <a:lstStyle/>
          <a:p>
            <a:pPr marL="726440" marR="506984" indent="-209296">
              <a:spcBef>
                <a:spcPts val="432"/>
              </a:spcBef>
            </a:pPr>
            <a:r>
              <a:rPr sz="2400" b="1" spc="-8" dirty="0">
                <a:solidFill>
                  <a:srgbClr val="404040"/>
                </a:solidFill>
                <a:latin typeface="Verdana"/>
                <a:cs typeface="Verdana"/>
              </a:rPr>
              <a:t>General  Ward</a:t>
            </a:r>
            <a:endParaRPr sz="2400">
              <a:latin typeface="Verdana"/>
              <a:cs typeface="Verdana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2546875" y="5732434"/>
            <a:ext cx="2454314" cy="93317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7" name="object 17"/>
          <p:cNvSpPr/>
          <p:nvPr/>
        </p:nvSpPr>
        <p:spPr>
          <a:xfrm>
            <a:off x="2743200" y="5675375"/>
            <a:ext cx="2166518" cy="1137512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8" name="object 18"/>
          <p:cNvSpPr txBox="1"/>
          <p:nvPr/>
        </p:nvSpPr>
        <p:spPr>
          <a:xfrm>
            <a:off x="2590800" y="5744871"/>
            <a:ext cx="2367280" cy="794064"/>
          </a:xfrm>
          <a:prstGeom prst="rect">
            <a:avLst/>
          </a:prstGeom>
          <a:solidFill>
            <a:srgbClr val="FCEADA"/>
          </a:solidFill>
        </p:spPr>
        <p:txBody>
          <a:bodyPr vert="horz" wrap="square" lIns="0" tIns="54864" rIns="0" bIns="0" rtlCol="0">
            <a:spAutoFit/>
          </a:bodyPr>
          <a:lstStyle/>
          <a:p>
            <a:pPr marL="810768" marR="389126" indent="-410464">
              <a:spcBef>
                <a:spcPts val="432"/>
              </a:spcBef>
            </a:pPr>
            <a:r>
              <a:rPr sz="2400" b="1" spc="-8" dirty="0">
                <a:solidFill>
                  <a:srgbClr val="404040"/>
                </a:solidFill>
                <a:latin typeface="Verdana"/>
                <a:cs typeface="Verdana"/>
              </a:rPr>
              <a:t>Sensit</a:t>
            </a:r>
            <a:r>
              <a:rPr sz="2400" b="1" spc="-16" dirty="0">
                <a:solidFill>
                  <a:srgbClr val="404040"/>
                </a:solidFill>
                <a:latin typeface="Verdana"/>
                <a:cs typeface="Verdana"/>
              </a:rPr>
              <a:t>i</a:t>
            </a:r>
            <a:r>
              <a:rPr sz="2400" b="1" dirty="0">
                <a:solidFill>
                  <a:srgbClr val="404040"/>
                </a:solidFill>
                <a:latin typeface="Verdana"/>
                <a:cs typeface="Verdana"/>
              </a:rPr>
              <a:t>ve  </a:t>
            </a:r>
            <a:r>
              <a:rPr sz="2400" b="1" spc="-8" dirty="0">
                <a:solidFill>
                  <a:srgbClr val="404040"/>
                </a:solidFill>
                <a:latin typeface="Verdana"/>
                <a:cs typeface="Verdana"/>
              </a:rPr>
              <a:t>Skin</a:t>
            </a:r>
            <a:endParaRPr sz="2400">
              <a:latin typeface="Verdana"/>
              <a:cs typeface="Verdana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2546875" y="4598578"/>
            <a:ext cx="2454314" cy="93317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20" name="object 20"/>
          <p:cNvSpPr/>
          <p:nvPr/>
        </p:nvSpPr>
        <p:spPr>
          <a:xfrm>
            <a:off x="2535936" y="4541520"/>
            <a:ext cx="2473757" cy="113751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21" name="object 21"/>
          <p:cNvSpPr txBox="1"/>
          <p:nvPr/>
        </p:nvSpPr>
        <p:spPr>
          <a:xfrm>
            <a:off x="2590800" y="4611013"/>
            <a:ext cx="2367280" cy="794064"/>
          </a:xfrm>
          <a:prstGeom prst="rect">
            <a:avLst/>
          </a:prstGeom>
          <a:solidFill>
            <a:srgbClr val="F1F1F1"/>
          </a:solidFill>
        </p:spPr>
        <p:txBody>
          <a:bodyPr vert="horz" wrap="square" lIns="0" tIns="54864" rIns="0" bIns="0" rtlCol="0">
            <a:spAutoFit/>
          </a:bodyPr>
          <a:lstStyle/>
          <a:p>
            <a:pPr marL="194056" marR="182880" indent="294640">
              <a:spcBef>
                <a:spcPts val="432"/>
              </a:spcBef>
            </a:pPr>
            <a:r>
              <a:rPr sz="2400" b="1" spc="-8" dirty="0">
                <a:solidFill>
                  <a:srgbClr val="404040"/>
                </a:solidFill>
                <a:latin typeface="Verdana"/>
                <a:cs typeface="Verdana"/>
              </a:rPr>
              <a:t>Stress </a:t>
            </a:r>
            <a:r>
              <a:rPr sz="2400" b="1" dirty="0">
                <a:solidFill>
                  <a:srgbClr val="404040"/>
                </a:solidFill>
                <a:latin typeface="Verdana"/>
                <a:cs typeface="Verdana"/>
              </a:rPr>
              <a:t>/  </a:t>
            </a:r>
            <a:r>
              <a:rPr sz="2400" b="1" spc="-8" dirty="0">
                <a:solidFill>
                  <a:srgbClr val="404040"/>
                </a:solidFill>
                <a:latin typeface="Verdana"/>
                <a:cs typeface="Verdana"/>
              </a:rPr>
              <a:t>Diaphoretic</a:t>
            </a:r>
            <a:endParaRPr sz="2400" dirty="0">
              <a:latin typeface="Verdana"/>
              <a:cs typeface="Verdana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2546875" y="3465941"/>
            <a:ext cx="2454314" cy="93317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23" name="object 23"/>
          <p:cNvSpPr/>
          <p:nvPr/>
        </p:nvSpPr>
        <p:spPr>
          <a:xfrm>
            <a:off x="2877312" y="3591762"/>
            <a:ext cx="1792224" cy="77175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24" name="object 24"/>
          <p:cNvSpPr txBox="1"/>
          <p:nvPr/>
        </p:nvSpPr>
        <p:spPr>
          <a:xfrm>
            <a:off x="2590800" y="3478377"/>
            <a:ext cx="2367280" cy="609398"/>
          </a:xfrm>
          <a:prstGeom prst="rect">
            <a:avLst/>
          </a:prstGeom>
          <a:solidFill>
            <a:srgbClr val="E2EEF6"/>
          </a:solidFill>
        </p:spPr>
        <p:txBody>
          <a:bodyPr vert="horz" wrap="square" lIns="0" tIns="237744" rIns="0" bIns="0" rtlCol="0">
            <a:spAutoFit/>
          </a:bodyPr>
          <a:lstStyle/>
          <a:p>
            <a:pPr marL="535432">
              <a:spcBef>
                <a:spcPts val="1872"/>
              </a:spcBef>
            </a:pPr>
            <a:r>
              <a:rPr sz="2400" b="1" spc="-8" dirty="0">
                <a:solidFill>
                  <a:srgbClr val="404040"/>
                </a:solidFill>
                <a:latin typeface="Verdana"/>
                <a:cs typeface="Verdana"/>
              </a:rPr>
              <a:t>Resting</a:t>
            </a:r>
            <a:endParaRPr sz="2400">
              <a:latin typeface="Verdana"/>
              <a:cs typeface="Verdan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4881270" y="7618375"/>
            <a:ext cx="7049008" cy="575542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20320">
              <a:lnSpc>
                <a:spcPts val="1816"/>
              </a:lnSpc>
              <a:spcBef>
                <a:spcPts val="160"/>
              </a:spcBef>
            </a:pPr>
            <a:r>
              <a:rPr sz="720" dirty="0">
                <a:solidFill>
                  <a:srgbClr val="7E7E7E"/>
                </a:solidFill>
              </a:rPr>
              <a:t>© </a:t>
            </a:r>
            <a:r>
              <a:rPr sz="720" spc="-8" dirty="0">
                <a:solidFill>
                  <a:srgbClr val="7E7E7E"/>
                </a:solidFill>
              </a:rPr>
              <a:t>2016 Care</a:t>
            </a:r>
            <a:r>
              <a:rPr sz="720" dirty="0">
                <a:solidFill>
                  <a:srgbClr val="7E7E7E"/>
                </a:solidFill>
              </a:rPr>
              <a:t>Fus</a:t>
            </a:r>
            <a:r>
              <a:rPr sz="720" spc="-8" dirty="0">
                <a:solidFill>
                  <a:srgbClr val="7E7E7E"/>
                </a:solidFill>
              </a:rPr>
              <a:t>ion</a:t>
            </a:r>
            <a:r>
              <a:rPr sz="720" spc="-32" dirty="0">
                <a:solidFill>
                  <a:srgbClr val="7E7E7E"/>
                </a:solidFill>
              </a:rPr>
              <a:t> </a:t>
            </a:r>
            <a:r>
              <a:rPr sz="720" spc="-8" dirty="0">
                <a:solidFill>
                  <a:srgbClr val="7E7E7E"/>
                </a:solidFill>
              </a:rPr>
              <a:t>Corpora</a:t>
            </a:r>
            <a:r>
              <a:rPr sz="720" dirty="0">
                <a:solidFill>
                  <a:srgbClr val="7E7E7E"/>
                </a:solidFill>
              </a:rPr>
              <a:t>ti</a:t>
            </a:r>
            <a:r>
              <a:rPr sz="720" spc="-8" dirty="0">
                <a:solidFill>
                  <a:srgbClr val="7E7E7E"/>
                </a:solidFill>
              </a:rPr>
              <a:t>on</a:t>
            </a:r>
            <a:r>
              <a:rPr sz="720" spc="-32" dirty="0">
                <a:solidFill>
                  <a:srgbClr val="7E7E7E"/>
                </a:solidFill>
              </a:rPr>
              <a:t> </a:t>
            </a:r>
            <a:r>
              <a:rPr sz="720" spc="-8" dirty="0">
                <a:solidFill>
                  <a:srgbClr val="7E7E7E"/>
                </a:solidFill>
              </a:rPr>
              <a:t>o</a:t>
            </a:r>
            <a:r>
              <a:rPr sz="720" dirty="0">
                <a:solidFill>
                  <a:srgbClr val="7E7E7E"/>
                </a:solidFill>
              </a:rPr>
              <a:t>r </a:t>
            </a:r>
            <a:r>
              <a:rPr sz="720" spc="-8" dirty="0">
                <a:solidFill>
                  <a:srgbClr val="7E7E7E"/>
                </a:solidFill>
              </a:rPr>
              <a:t>one o</a:t>
            </a:r>
            <a:r>
              <a:rPr sz="720" dirty="0">
                <a:solidFill>
                  <a:srgbClr val="7E7E7E"/>
                </a:solidFill>
              </a:rPr>
              <a:t>f</a:t>
            </a:r>
            <a:r>
              <a:rPr sz="720" spc="-8" dirty="0">
                <a:solidFill>
                  <a:srgbClr val="7E7E7E"/>
                </a:solidFill>
              </a:rPr>
              <a:t> i</a:t>
            </a:r>
            <a:r>
              <a:rPr sz="720" dirty="0">
                <a:solidFill>
                  <a:srgbClr val="7E7E7E"/>
                </a:solidFill>
              </a:rPr>
              <a:t>ts</a:t>
            </a:r>
            <a:r>
              <a:rPr sz="720" spc="-8" dirty="0">
                <a:solidFill>
                  <a:srgbClr val="7E7E7E"/>
                </a:solidFill>
              </a:rPr>
              <a:t> a</a:t>
            </a:r>
            <a:r>
              <a:rPr sz="720" dirty="0">
                <a:solidFill>
                  <a:srgbClr val="7E7E7E"/>
                </a:solidFill>
              </a:rPr>
              <a:t>ff</a:t>
            </a:r>
            <a:r>
              <a:rPr sz="720" spc="-8" dirty="0">
                <a:solidFill>
                  <a:srgbClr val="7E7E7E"/>
                </a:solidFill>
              </a:rPr>
              <a:t>ilia</a:t>
            </a:r>
            <a:r>
              <a:rPr sz="720" dirty="0">
                <a:solidFill>
                  <a:srgbClr val="7E7E7E"/>
                </a:solidFill>
              </a:rPr>
              <a:t>tes.</a:t>
            </a:r>
            <a:r>
              <a:rPr sz="720" spc="-32" dirty="0">
                <a:solidFill>
                  <a:srgbClr val="7E7E7E"/>
                </a:solidFill>
              </a:rPr>
              <a:t> </a:t>
            </a:r>
            <a:r>
              <a:rPr sz="720" dirty="0">
                <a:solidFill>
                  <a:srgbClr val="7E7E7E"/>
                </a:solidFill>
              </a:rPr>
              <a:t>Al</a:t>
            </a:r>
            <a:r>
              <a:rPr sz="720" spc="-8" dirty="0">
                <a:solidFill>
                  <a:srgbClr val="7E7E7E"/>
                </a:solidFill>
              </a:rPr>
              <a:t>l righ</a:t>
            </a:r>
            <a:r>
              <a:rPr sz="720" dirty="0">
                <a:solidFill>
                  <a:srgbClr val="7E7E7E"/>
                </a:solidFill>
              </a:rPr>
              <a:t>ts</a:t>
            </a:r>
            <a:r>
              <a:rPr sz="720" spc="-16" dirty="0">
                <a:solidFill>
                  <a:srgbClr val="7E7E7E"/>
                </a:solidFill>
              </a:rPr>
              <a:t> </a:t>
            </a:r>
            <a:r>
              <a:rPr sz="720" dirty="0">
                <a:solidFill>
                  <a:srgbClr val="7E7E7E"/>
                </a:solidFill>
              </a:rPr>
              <a:t>res</a:t>
            </a:r>
            <a:r>
              <a:rPr sz="720" spc="-8" dirty="0">
                <a:solidFill>
                  <a:srgbClr val="7E7E7E"/>
                </a:solidFill>
              </a:rPr>
              <a:t>e</a:t>
            </a:r>
            <a:r>
              <a:rPr sz="720" dirty="0">
                <a:solidFill>
                  <a:srgbClr val="7E7E7E"/>
                </a:solidFill>
              </a:rPr>
              <a:t>r</a:t>
            </a:r>
            <a:r>
              <a:rPr sz="720" spc="-8" dirty="0">
                <a:solidFill>
                  <a:srgbClr val="7E7E7E"/>
                </a:solidFill>
              </a:rPr>
              <a:t>ved</a:t>
            </a:r>
            <a:r>
              <a:rPr sz="720" dirty="0">
                <a:solidFill>
                  <a:srgbClr val="7E7E7E"/>
                </a:solidFill>
              </a:rPr>
              <a:t>.</a:t>
            </a:r>
            <a:r>
              <a:rPr sz="720" spc="-24" dirty="0">
                <a:solidFill>
                  <a:srgbClr val="7E7E7E"/>
                </a:solidFill>
              </a:rPr>
              <a:t> </a:t>
            </a:r>
            <a:r>
              <a:rPr sz="720" dirty="0">
                <a:solidFill>
                  <a:srgbClr val="7E7E7E"/>
                </a:solidFill>
              </a:rPr>
              <a:t>Vita</a:t>
            </a:r>
            <a:r>
              <a:rPr sz="720" spc="-8" dirty="0">
                <a:solidFill>
                  <a:srgbClr val="7E7E7E"/>
                </a:solidFill>
              </a:rPr>
              <a:t>l </a:t>
            </a:r>
            <a:r>
              <a:rPr sz="720" dirty="0">
                <a:solidFill>
                  <a:srgbClr val="7E7E7E"/>
                </a:solidFill>
              </a:rPr>
              <a:t>Signs,</a:t>
            </a:r>
            <a:r>
              <a:rPr sz="720" spc="-24" dirty="0">
                <a:solidFill>
                  <a:srgbClr val="7E7E7E"/>
                </a:solidFill>
              </a:rPr>
              <a:t> </a:t>
            </a:r>
            <a:r>
              <a:rPr sz="720" spc="-8" dirty="0">
                <a:solidFill>
                  <a:srgbClr val="7E7E7E"/>
                </a:solidFill>
              </a:rPr>
              <a:t>Ca</a:t>
            </a:r>
            <a:r>
              <a:rPr sz="720" spc="-136" dirty="0">
                <a:solidFill>
                  <a:srgbClr val="7E7E7E"/>
                </a:solidFill>
              </a:rPr>
              <a:t>r</a:t>
            </a:r>
            <a:r>
              <a:rPr sz="1600" b="1" spc="-1032" dirty="0">
                <a:solidFill>
                  <a:srgbClr val="F1F1F1"/>
                </a:solidFill>
              </a:rPr>
              <a:t>C</a:t>
            </a:r>
            <a:r>
              <a:rPr sz="720" spc="-8" dirty="0">
                <a:solidFill>
                  <a:srgbClr val="7E7E7E"/>
                </a:solidFill>
              </a:rPr>
              <a:t>e</a:t>
            </a:r>
            <a:r>
              <a:rPr sz="720" dirty="0">
                <a:solidFill>
                  <a:srgbClr val="7E7E7E"/>
                </a:solidFill>
              </a:rPr>
              <a:t>F</a:t>
            </a:r>
            <a:r>
              <a:rPr sz="720" spc="-232" dirty="0">
                <a:solidFill>
                  <a:srgbClr val="7E7E7E"/>
                </a:solidFill>
              </a:rPr>
              <a:t>u</a:t>
            </a:r>
            <a:r>
              <a:rPr sz="1600" b="1" spc="-1032" dirty="0">
                <a:solidFill>
                  <a:srgbClr val="F1F1F1"/>
                </a:solidFill>
              </a:rPr>
              <a:t>O</a:t>
            </a:r>
            <a:r>
              <a:rPr sz="720" dirty="0">
                <a:solidFill>
                  <a:srgbClr val="7E7E7E"/>
                </a:solidFill>
              </a:rPr>
              <a:t>s</a:t>
            </a:r>
            <a:r>
              <a:rPr sz="720" spc="-8" dirty="0">
                <a:solidFill>
                  <a:srgbClr val="7E7E7E"/>
                </a:solidFill>
              </a:rPr>
              <a:t>io</a:t>
            </a:r>
            <a:r>
              <a:rPr sz="720" spc="-312" dirty="0">
                <a:solidFill>
                  <a:srgbClr val="7E7E7E"/>
                </a:solidFill>
              </a:rPr>
              <a:t>n</a:t>
            </a:r>
            <a:r>
              <a:rPr sz="1600" b="1" spc="-680" dirty="0">
                <a:solidFill>
                  <a:srgbClr val="F1F1F1"/>
                </a:solidFill>
              </a:rPr>
              <a:t>N</a:t>
            </a:r>
            <a:r>
              <a:rPr sz="720" spc="-8" dirty="0">
                <a:solidFill>
                  <a:srgbClr val="7E7E7E"/>
                </a:solidFill>
              </a:rPr>
              <a:t>a</a:t>
            </a:r>
            <a:r>
              <a:rPr sz="720" spc="-128" dirty="0">
                <a:solidFill>
                  <a:srgbClr val="7E7E7E"/>
                </a:solidFill>
              </a:rPr>
              <a:t>n</a:t>
            </a:r>
            <a:r>
              <a:rPr sz="1600" b="1" spc="-864" dirty="0">
                <a:solidFill>
                  <a:srgbClr val="F1F1F1"/>
                </a:solidFill>
              </a:rPr>
              <a:t>F</a:t>
            </a:r>
            <a:r>
              <a:rPr sz="720" spc="-8" dirty="0">
                <a:solidFill>
                  <a:srgbClr val="7E7E7E"/>
                </a:solidFill>
              </a:rPr>
              <a:t>d </a:t>
            </a:r>
            <a:r>
              <a:rPr sz="720" dirty="0">
                <a:solidFill>
                  <a:srgbClr val="7E7E7E"/>
                </a:solidFill>
              </a:rPr>
              <a:t>t</a:t>
            </a:r>
            <a:r>
              <a:rPr sz="720" spc="-344" dirty="0">
                <a:solidFill>
                  <a:srgbClr val="7E7E7E"/>
                </a:solidFill>
              </a:rPr>
              <a:t>h</a:t>
            </a:r>
            <a:r>
              <a:rPr sz="1600" b="1" spc="-112" dirty="0">
                <a:solidFill>
                  <a:srgbClr val="F1F1F1"/>
                </a:solidFill>
              </a:rPr>
              <a:t>I</a:t>
            </a:r>
            <a:r>
              <a:rPr sz="720" spc="-304" dirty="0">
                <a:solidFill>
                  <a:srgbClr val="7E7E7E"/>
                </a:solidFill>
              </a:rPr>
              <a:t>e</a:t>
            </a:r>
            <a:r>
              <a:rPr sz="1600" b="1" spc="-672" dirty="0">
                <a:solidFill>
                  <a:srgbClr val="F1F1F1"/>
                </a:solidFill>
              </a:rPr>
              <a:t>D</a:t>
            </a:r>
            <a:r>
              <a:rPr sz="720" spc="-8" dirty="0">
                <a:solidFill>
                  <a:srgbClr val="7E7E7E"/>
                </a:solidFill>
              </a:rPr>
              <a:t>C</a:t>
            </a:r>
            <a:r>
              <a:rPr sz="720" spc="-264" dirty="0">
                <a:solidFill>
                  <a:srgbClr val="7E7E7E"/>
                </a:solidFill>
              </a:rPr>
              <a:t>a</a:t>
            </a:r>
            <a:r>
              <a:rPr sz="1600" b="1" spc="-824" dirty="0">
                <a:solidFill>
                  <a:srgbClr val="F1F1F1"/>
                </a:solidFill>
              </a:rPr>
              <a:t>E</a:t>
            </a:r>
            <a:r>
              <a:rPr sz="720" dirty="0">
                <a:solidFill>
                  <a:srgbClr val="7E7E7E"/>
                </a:solidFill>
              </a:rPr>
              <a:t>re</a:t>
            </a:r>
            <a:r>
              <a:rPr sz="720" spc="-264" dirty="0">
                <a:solidFill>
                  <a:srgbClr val="7E7E7E"/>
                </a:solidFill>
              </a:rPr>
              <a:t>F</a:t>
            </a:r>
            <a:r>
              <a:rPr sz="1600" b="1" spc="-896" dirty="0">
                <a:solidFill>
                  <a:srgbClr val="F1F1F1"/>
                </a:solidFill>
              </a:rPr>
              <a:t>N</a:t>
            </a:r>
            <a:r>
              <a:rPr sz="720" spc="-8" dirty="0">
                <a:solidFill>
                  <a:srgbClr val="7E7E7E"/>
                </a:solidFill>
              </a:rPr>
              <a:t>u</a:t>
            </a:r>
            <a:r>
              <a:rPr sz="720" dirty="0">
                <a:solidFill>
                  <a:srgbClr val="7E7E7E"/>
                </a:solidFill>
              </a:rPr>
              <a:t>s</a:t>
            </a:r>
            <a:r>
              <a:rPr sz="720" spc="-48" dirty="0">
                <a:solidFill>
                  <a:srgbClr val="7E7E7E"/>
                </a:solidFill>
              </a:rPr>
              <a:t>i</a:t>
            </a:r>
            <a:r>
              <a:rPr sz="1600" b="1" spc="-944" dirty="0">
                <a:solidFill>
                  <a:srgbClr val="F1F1F1"/>
                </a:solidFill>
              </a:rPr>
              <a:t>T</a:t>
            </a:r>
            <a:r>
              <a:rPr sz="720" spc="-8" dirty="0">
                <a:solidFill>
                  <a:srgbClr val="7E7E7E"/>
                </a:solidFill>
              </a:rPr>
              <a:t>on</a:t>
            </a:r>
            <a:r>
              <a:rPr sz="720" spc="-64" dirty="0">
                <a:solidFill>
                  <a:srgbClr val="7E7E7E"/>
                </a:solidFill>
              </a:rPr>
              <a:t> </a:t>
            </a:r>
            <a:r>
              <a:rPr sz="1600" b="1" spc="-406" dirty="0">
                <a:solidFill>
                  <a:srgbClr val="F1F1F1"/>
                </a:solidFill>
              </a:rPr>
              <a:t>I</a:t>
            </a:r>
            <a:r>
              <a:rPr sz="720" spc="-8" dirty="0">
                <a:solidFill>
                  <a:srgbClr val="7E7E7E"/>
                </a:solidFill>
              </a:rPr>
              <a:t>l</a:t>
            </a:r>
            <a:r>
              <a:rPr sz="720" spc="-176" dirty="0">
                <a:solidFill>
                  <a:srgbClr val="7E7E7E"/>
                </a:solidFill>
              </a:rPr>
              <a:t>o</a:t>
            </a:r>
            <a:r>
              <a:rPr sz="1600" b="1" spc="-1000" dirty="0">
                <a:solidFill>
                  <a:srgbClr val="F1F1F1"/>
                </a:solidFill>
              </a:rPr>
              <a:t>A</a:t>
            </a:r>
            <a:r>
              <a:rPr sz="720" spc="-8" dirty="0">
                <a:solidFill>
                  <a:srgbClr val="7E7E7E"/>
                </a:solidFill>
              </a:rPr>
              <a:t>go</a:t>
            </a:r>
            <a:r>
              <a:rPr sz="720" spc="-16" dirty="0">
                <a:solidFill>
                  <a:srgbClr val="7E7E7E"/>
                </a:solidFill>
              </a:rPr>
              <a:t> </a:t>
            </a:r>
            <a:r>
              <a:rPr sz="1600" b="1" spc="-936" dirty="0">
                <a:solidFill>
                  <a:srgbClr val="F1F1F1"/>
                </a:solidFill>
              </a:rPr>
              <a:t>L</a:t>
            </a:r>
            <a:r>
              <a:rPr sz="720" spc="-8" dirty="0">
                <a:solidFill>
                  <a:srgbClr val="7E7E7E"/>
                </a:solidFill>
              </a:rPr>
              <a:t>are</a:t>
            </a:r>
            <a:r>
              <a:rPr sz="720" dirty="0">
                <a:solidFill>
                  <a:srgbClr val="7E7E7E"/>
                </a:solidFill>
              </a:rPr>
              <a:t> </a:t>
            </a:r>
            <a:r>
              <a:rPr sz="720" spc="-88" dirty="0">
                <a:solidFill>
                  <a:srgbClr val="7E7E7E"/>
                </a:solidFill>
              </a:rPr>
              <a:t> </a:t>
            </a:r>
            <a:r>
              <a:rPr sz="1600" b="1" dirty="0">
                <a:solidFill>
                  <a:srgbClr val="F1F1F1"/>
                </a:solidFill>
              </a:rPr>
              <a:t>–</a:t>
            </a:r>
            <a:r>
              <a:rPr sz="1600" b="1" spc="-24" dirty="0">
                <a:solidFill>
                  <a:srgbClr val="F1F1F1"/>
                </a:solidFill>
              </a:rPr>
              <a:t> </a:t>
            </a:r>
            <a:r>
              <a:rPr sz="1600" b="1" dirty="0">
                <a:solidFill>
                  <a:srgbClr val="F1F1F1"/>
                </a:solidFill>
              </a:rPr>
              <a:t>Internal</a:t>
            </a:r>
            <a:r>
              <a:rPr sz="1600" b="1" spc="-40" dirty="0">
                <a:solidFill>
                  <a:srgbClr val="F1F1F1"/>
                </a:solidFill>
              </a:rPr>
              <a:t> </a:t>
            </a:r>
            <a:r>
              <a:rPr sz="1600" b="1" dirty="0">
                <a:solidFill>
                  <a:srgbClr val="F1F1F1"/>
                </a:solidFill>
              </a:rPr>
              <a:t>Use</a:t>
            </a:r>
            <a:r>
              <a:rPr sz="1600" b="1" spc="-32" dirty="0">
                <a:solidFill>
                  <a:srgbClr val="F1F1F1"/>
                </a:solidFill>
              </a:rPr>
              <a:t> </a:t>
            </a:r>
            <a:r>
              <a:rPr sz="1600" b="1" dirty="0">
                <a:solidFill>
                  <a:srgbClr val="F1F1F1"/>
                </a:solidFill>
              </a:rPr>
              <a:t>Only</a:t>
            </a:r>
            <a:endParaRPr sz="1600"/>
          </a:p>
          <a:p>
            <a:pPr marL="20320">
              <a:lnSpc>
                <a:spcPts val="760"/>
              </a:lnSpc>
            </a:pPr>
            <a:r>
              <a:rPr sz="720" dirty="0">
                <a:solidFill>
                  <a:srgbClr val="7E7E7E"/>
                </a:solidFill>
              </a:rPr>
              <a:t>trademarks</a:t>
            </a:r>
            <a:r>
              <a:rPr sz="720" spc="-24" dirty="0">
                <a:solidFill>
                  <a:srgbClr val="7E7E7E"/>
                </a:solidFill>
              </a:rPr>
              <a:t> </a:t>
            </a:r>
            <a:r>
              <a:rPr sz="720" dirty="0">
                <a:solidFill>
                  <a:srgbClr val="7E7E7E"/>
                </a:solidFill>
              </a:rPr>
              <a:t>or</a:t>
            </a:r>
            <a:r>
              <a:rPr sz="720" spc="-8" dirty="0">
                <a:solidFill>
                  <a:srgbClr val="7E7E7E"/>
                </a:solidFill>
              </a:rPr>
              <a:t> </a:t>
            </a:r>
            <a:r>
              <a:rPr sz="720" dirty="0">
                <a:solidFill>
                  <a:srgbClr val="7E7E7E"/>
                </a:solidFill>
              </a:rPr>
              <a:t>registered</a:t>
            </a:r>
            <a:r>
              <a:rPr sz="720" spc="-16" dirty="0">
                <a:solidFill>
                  <a:srgbClr val="7E7E7E"/>
                </a:solidFill>
              </a:rPr>
              <a:t> </a:t>
            </a:r>
            <a:r>
              <a:rPr sz="720" dirty="0">
                <a:solidFill>
                  <a:srgbClr val="7E7E7E"/>
                </a:solidFill>
              </a:rPr>
              <a:t>trademarks</a:t>
            </a:r>
            <a:r>
              <a:rPr sz="720" spc="-40" dirty="0">
                <a:solidFill>
                  <a:srgbClr val="7E7E7E"/>
                </a:solidFill>
              </a:rPr>
              <a:t> </a:t>
            </a:r>
            <a:r>
              <a:rPr sz="720" dirty="0">
                <a:solidFill>
                  <a:srgbClr val="7E7E7E"/>
                </a:solidFill>
              </a:rPr>
              <a:t>of CareFusion</a:t>
            </a:r>
            <a:r>
              <a:rPr sz="720" spc="-32" dirty="0">
                <a:solidFill>
                  <a:srgbClr val="7E7E7E"/>
                </a:solidFill>
              </a:rPr>
              <a:t> </a:t>
            </a:r>
            <a:r>
              <a:rPr sz="720" dirty="0">
                <a:solidFill>
                  <a:srgbClr val="7E7E7E"/>
                </a:solidFill>
              </a:rPr>
              <a:t>Corporation</a:t>
            </a:r>
            <a:r>
              <a:rPr sz="720" spc="-16" dirty="0">
                <a:solidFill>
                  <a:srgbClr val="7E7E7E"/>
                </a:solidFill>
              </a:rPr>
              <a:t> </a:t>
            </a:r>
            <a:r>
              <a:rPr sz="720" dirty="0">
                <a:solidFill>
                  <a:srgbClr val="7E7E7E"/>
                </a:solidFill>
              </a:rPr>
              <a:t>or</a:t>
            </a:r>
            <a:r>
              <a:rPr sz="720" spc="-8" dirty="0">
                <a:solidFill>
                  <a:srgbClr val="7E7E7E"/>
                </a:solidFill>
              </a:rPr>
              <a:t> one </a:t>
            </a:r>
            <a:r>
              <a:rPr sz="720" dirty="0">
                <a:solidFill>
                  <a:srgbClr val="7E7E7E"/>
                </a:solidFill>
              </a:rPr>
              <a:t>of</a:t>
            </a:r>
            <a:r>
              <a:rPr sz="720" spc="-8" dirty="0">
                <a:solidFill>
                  <a:srgbClr val="7E7E7E"/>
                </a:solidFill>
              </a:rPr>
              <a:t> </a:t>
            </a:r>
            <a:r>
              <a:rPr sz="720" dirty="0">
                <a:solidFill>
                  <a:srgbClr val="7E7E7E"/>
                </a:solidFill>
              </a:rPr>
              <a:t>its</a:t>
            </a:r>
            <a:r>
              <a:rPr sz="720" spc="-8" dirty="0">
                <a:solidFill>
                  <a:srgbClr val="7E7E7E"/>
                </a:solidFill>
              </a:rPr>
              <a:t> </a:t>
            </a:r>
            <a:r>
              <a:rPr sz="720" dirty="0">
                <a:solidFill>
                  <a:srgbClr val="7E7E7E"/>
                </a:solidFill>
              </a:rPr>
              <a:t>affiliates.</a:t>
            </a:r>
            <a:r>
              <a:rPr sz="720" spc="-32" dirty="0">
                <a:solidFill>
                  <a:srgbClr val="7E7E7E"/>
                </a:solidFill>
              </a:rPr>
              <a:t> </a:t>
            </a:r>
            <a:r>
              <a:rPr sz="720" spc="-8" dirty="0">
                <a:solidFill>
                  <a:srgbClr val="7E7E7E"/>
                </a:solidFill>
              </a:rPr>
              <a:t>Medical devices</a:t>
            </a:r>
            <a:r>
              <a:rPr sz="720" spc="-16" dirty="0">
                <a:solidFill>
                  <a:srgbClr val="7E7E7E"/>
                </a:solidFill>
              </a:rPr>
              <a:t> </a:t>
            </a:r>
            <a:r>
              <a:rPr sz="720" dirty="0">
                <a:solidFill>
                  <a:srgbClr val="7E7E7E"/>
                </a:solidFill>
              </a:rPr>
              <a:t>class</a:t>
            </a:r>
            <a:r>
              <a:rPr sz="720" spc="-16" dirty="0">
                <a:solidFill>
                  <a:srgbClr val="7E7E7E"/>
                </a:solidFill>
              </a:rPr>
              <a:t> </a:t>
            </a:r>
            <a:r>
              <a:rPr sz="720" dirty="0">
                <a:solidFill>
                  <a:srgbClr val="7E7E7E"/>
                </a:solidFill>
              </a:rPr>
              <a:t>I</a:t>
            </a:r>
            <a:r>
              <a:rPr sz="720" spc="-8" dirty="0">
                <a:solidFill>
                  <a:srgbClr val="7E7E7E"/>
                </a:solidFill>
              </a:rPr>
              <a:t> according</a:t>
            </a:r>
            <a:r>
              <a:rPr sz="720" spc="-32" dirty="0">
                <a:solidFill>
                  <a:srgbClr val="7E7E7E"/>
                </a:solidFill>
              </a:rPr>
              <a:t> </a:t>
            </a:r>
            <a:r>
              <a:rPr sz="720" dirty="0">
                <a:solidFill>
                  <a:srgbClr val="7E7E7E"/>
                </a:solidFill>
              </a:rPr>
              <a:t>to</a:t>
            </a:r>
            <a:endParaRPr sz="720"/>
          </a:p>
          <a:p>
            <a:pPr marL="20320" marR="2016760"/>
            <a:r>
              <a:rPr sz="720" spc="-8" dirty="0">
                <a:solidFill>
                  <a:srgbClr val="7E7E7E"/>
                </a:solidFill>
              </a:rPr>
              <a:t>Medical Devices Directive </a:t>
            </a:r>
            <a:r>
              <a:rPr sz="720" dirty="0">
                <a:solidFill>
                  <a:srgbClr val="7E7E7E"/>
                </a:solidFill>
              </a:rPr>
              <a:t>93/42/EC. Please read the complete Instructions For Use that come </a:t>
            </a:r>
            <a:r>
              <a:rPr sz="720" spc="-8" dirty="0">
                <a:solidFill>
                  <a:srgbClr val="7E7E7E"/>
                </a:solidFill>
              </a:rPr>
              <a:t>with </a:t>
            </a:r>
            <a:r>
              <a:rPr sz="720" dirty="0">
                <a:solidFill>
                  <a:srgbClr val="7E7E7E"/>
                </a:solidFill>
              </a:rPr>
              <a:t>the </a:t>
            </a:r>
            <a:r>
              <a:rPr sz="720" spc="-8" dirty="0">
                <a:solidFill>
                  <a:srgbClr val="7E7E7E"/>
                </a:solidFill>
              </a:rPr>
              <a:t>devices </a:t>
            </a:r>
            <a:r>
              <a:rPr sz="720" dirty="0">
                <a:solidFill>
                  <a:srgbClr val="7E7E7E"/>
                </a:solidFill>
              </a:rPr>
              <a:t>or follow the  instructions </a:t>
            </a:r>
            <a:r>
              <a:rPr sz="720" spc="-8" dirty="0">
                <a:solidFill>
                  <a:srgbClr val="7E7E7E"/>
                </a:solidFill>
              </a:rPr>
              <a:t>on </a:t>
            </a:r>
            <a:r>
              <a:rPr sz="720" dirty="0">
                <a:solidFill>
                  <a:srgbClr val="7E7E7E"/>
                </a:solidFill>
              </a:rPr>
              <a:t>the product </a:t>
            </a:r>
            <a:r>
              <a:rPr sz="720" spc="-8" dirty="0">
                <a:solidFill>
                  <a:srgbClr val="7E7E7E"/>
                </a:solidFill>
              </a:rPr>
              <a:t>labeling. 0000MS07315 </a:t>
            </a:r>
            <a:r>
              <a:rPr sz="720" dirty="0">
                <a:solidFill>
                  <a:srgbClr val="7E7E7E"/>
                </a:solidFill>
              </a:rPr>
              <a:t>Issue</a:t>
            </a:r>
            <a:r>
              <a:rPr sz="720" spc="-104" dirty="0">
                <a:solidFill>
                  <a:srgbClr val="7E7E7E"/>
                </a:solidFill>
              </a:rPr>
              <a:t> </a:t>
            </a:r>
            <a:r>
              <a:rPr sz="720" spc="-8" dirty="0">
                <a:solidFill>
                  <a:srgbClr val="7E7E7E"/>
                </a:solidFill>
              </a:rPr>
              <a:t>1</a:t>
            </a:r>
            <a:endParaRPr sz="720"/>
          </a:p>
        </p:txBody>
      </p:sp>
    </p:spTree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240889" y="1510588"/>
            <a:ext cx="10148824" cy="2734056"/>
          </a:xfrm>
          <a:custGeom>
            <a:avLst/>
            <a:gdLst/>
            <a:ahLst/>
            <a:cxnLst/>
            <a:rect l="l" t="t" r="r" b="b"/>
            <a:pathLst>
              <a:path w="6343015" h="1708785">
                <a:moveTo>
                  <a:pt x="0" y="1708403"/>
                </a:moveTo>
                <a:lnTo>
                  <a:pt x="6342888" y="1708403"/>
                </a:lnTo>
                <a:lnTo>
                  <a:pt x="6342888" y="0"/>
                </a:lnTo>
                <a:lnTo>
                  <a:pt x="0" y="0"/>
                </a:lnTo>
                <a:lnTo>
                  <a:pt x="0" y="1708403"/>
                </a:lnTo>
                <a:close/>
              </a:path>
            </a:pathLst>
          </a:custGeom>
          <a:solidFill>
            <a:srgbClr val="E6DFEB"/>
          </a:solid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3" name="object 3"/>
          <p:cNvSpPr txBox="1"/>
          <p:nvPr/>
        </p:nvSpPr>
        <p:spPr>
          <a:xfrm>
            <a:off x="4265167" y="2146605"/>
            <a:ext cx="3038856" cy="1571712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225552" indent="-206248">
              <a:spcBef>
                <a:spcPts val="160"/>
              </a:spcBef>
              <a:buFont typeface="Arial"/>
              <a:buChar char="•"/>
              <a:tabLst>
                <a:tab pos="226568" algn="l"/>
              </a:tabLst>
            </a:pPr>
            <a:r>
              <a:rPr sz="1680" spc="-8" dirty="0">
                <a:solidFill>
                  <a:srgbClr val="28467B"/>
                </a:solidFill>
                <a:latin typeface="Verdana"/>
                <a:cs typeface="Verdana"/>
              </a:rPr>
              <a:t>Great </a:t>
            </a:r>
            <a:r>
              <a:rPr sz="1680" dirty="0">
                <a:solidFill>
                  <a:srgbClr val="28467B"/>
                </a:solidFill>
                <a:latin typeface="Verdana"/>
                <a:cs typeface="Verdana"/>
              </a:rPr>
              <a:t>solutions</a:t>
            </a:r>
            <a:r>
              <a:rPr sz="1680" spc="-24" dirty="0">
                <a:solidFill>
                  <a:srgbClr val="28467B"/>
                </a:solidFill>
                <a:latin typeface="Verdana"/>
                <a:cs typeface="Verdana"/>
              </a:rPr>
              <a:t> </a:t>
            </a:r>
            <a:r>
              <a:rPr sz="1680" dirty="0">
                <a:solidFill>
                  <a:srgbClr val="28467B"/>
                </a:solidFill>
                <a:latin typeface="Verdana"/>
                <a:cs typeface="Verdana"/>
              </a:rPr>
              <a:t>for</a:t>
            </a:r>
            <a:endParaRPr sz="1680" dirty="0">
              <a:latin typeface="Verdana"/>
              <a:cs typeface="Verdana"/>
            </a:endParaRPr>
          </a:p>
          <a:p>
            <a:pPr marL="774192" lvl="1" indent="-206248">
              <a:buFont typeface="Arial"/>
              <a:buChar char="•"/>
              <a:tabLst>
                <a:tab pos="775208" algn="l"/>
              </a:tabLst>
            </a:pPr>
            <a:r>
              <a:rPr sz="1680" dirty="0">
                <a:solidFill>
                  <a:srgbClr val="28467B"/>
                </a:solidFill>
                <a:latin typeface="Verdana"/>
                <a:cs typeface="Verdana"/>
              </a:rPr>
              <a:t>Stress &amp;</a:t>
            </a:r>
            <a:r>
              <a:rPr sz="1680" spc="-144" dirty="0">
                <a:solidFill>
                  <a:srgbClr val="28467B"/>
                </a:solidFill>
                <a:latin typeface="Verdana"/>
                <a:cs typeface="Verdana"/>
              </a:rPr>
              <a:t> </a:t>
            </a:r>
            <a:r>
              <a:rPr sz="1680" dirty="0">
                <a:solidFill>
                  <a:srgbClr val="28467B"/>
                </a:solidFill>
                <a:latin typeface="Verdana"/>
                <a:cs typeface="Verdana"/>
              </a:rPr>
              <a:t>diaphoretic</a:t>
            </a:r>
            <a:endParaRPr sz="1680" dirty="0">
              <a:latin typeface="Verdana"/>
              <a:cs typeface="Verdana"/>
            </a:endParaRPr>
          </a:p>
          <a:p>
            <a:pPr marL="774192" lvl="1" indent="-206248">
              <a:buFont typeface="Arial"/>
              <a:buChar char="•"/>
              <a:tabLst>
                <a:tab pos="775208" algn="l"/>
              </a:tabLst>
            </a:pPr>
            <a:r>
              <a:rPr sz="1680" spc="-8" dirty="0">
                <a:solidFill>
                  <a:srgbClr val="28467B"/>
                </a:solidFill>
                <a:latin typeface="Verdana"/>
                <a:cs typeface="Verdana"/>
              </a:rPr>
              <a:t>Resting </a:t>
            </a:r>
            <a:r>
              <a:rPr sz="1680" dirty="0">
                <a:solidFill>
                  <a:srgbClr val="28467B"/>
                </a:solidFill>
                <a:latin typeface="Verdana"/>
                <a:cs typeface="Verdana"/>
              </a:rPr>
              <a:t>,</a:t>
            </a:r>
            <a:r>
              <a:rPr sz="1680" spc="-72" dirty="0">
                <a:solidFill>
                  <a:srgbClr val="28467B"/>
                </a:solidFill>
                <a:latin typeface="Verdana"/>
                <a:cs typeface="Verdana"/>
              </a:rPr>
              <a:t> </a:t>
            </a:r>
            <a:r>
              <a:rPr sz="1680" dirty="0">
                <a:solidFill>
                  <a:srgbClr val="28467B"/>
                </a:solidFill>
                <a:latin typeface="Verdana"/>
                <a:cs typeface="Verdana"/>
              </a:rPr>
              <a:t>cardiology</a:t>
            </a:r>
            <a:endParaRPr sz="1680" dirty="0">
              <a:latin typeface="Verdana"/>
              <a:cs typeface="Verdana"/>
            </a:endParaRPr>
          </a:p>
          <a:p>
            <a:pPr marL="774192" lvl="1" indent="-206248">
              <a:buFont typeface="Arial"/>
              <a:buChar char="•"/>
              <a:tabLst>
                <a:tab pos="775208" algn="l"/>
              </a:tabLst>
            </a:pPr>
            <a:r>
              <a:rPr sz="1680" dirty="0">
                <a:solidFill>
                  <a:srgbClr val="28467B"/>
                </a:solidFill>
                <a:latin typeface="Verdana"/>
                <a:cs typeface="Verdana"/>
              </a:rPr>
              <a:t>Diagnostic</a:t>
            </a:r>
            <a:r>
              <a:rPr sz="1680" spc="-24" dirty="0">
                <a:solidFill>
                  <a:srgbClr val="28467B"/>
                </a:solidFill>
                <a:latin typeface="Verdana"/>
                <a:cs typeface="Verdana"/>
              </a:rPr>
              <a:t> </a:t>
            </a:r>
            <a:r>
              <a:rPr sz="1680" spc="-8" dirty="0">
                <a:solidFill>
                  <a:srgbClr val="28467B"/>
                </a:solidFill>
                <a:latin typeface="Verdana"/>
                <a:cs typeface="Verdana"/>
              </a:rPr>
              <a:t>ECG</a:t>
            </a:r>
            <a:endParaRPr sz="1680" dirty="0">
              <a:latin typeface="Verdana"/>
              <a:cs typeface="Verdana"/>
            </a:endParaRPr>
          </a:p>
          <a:p>
            <a:pPr marL="774192" marR="226568" lvl="1" indent="-206248">
              <a:buFont typeface="Arial"/>
              <a:buChar char="•"/>
              <a:tabLst>
                <a:tab pos="775208" algn="l"/>
              </a:tabLst>
            </a:pPr>
            <a:r>
              <a:rPr sz="1680" dirty="0">
                <a:solidFill>
                  <a:srgbClr val="28467B"/>
                </a:solidFill>
                <a:latin typeface="Verdana"/>
                <a:cs typeface="Verdana"/>
              </a:rPr>
              <a:t>Shapes </a:t>
            </a:r>
            <a:r>
              <a:rPr sz="1680" spc="-8" dirty="0">
                <a:solidFill>
                  <a:srgbClr val="28467B"/>
                </a:solidFill>
                <a:latin typeface="Verdana"/>
                <a:cs typeface="Verdana"/>
              </a:rPr>
              <a:t>optimal</a:t>
            </a:r>
            <a:r>
              <a:rPr sz="1680" spc="-136" dirty="0">
                <a:solidFill>
                  <a:srgbClr val="28467B"/>
                </a:solidFill>
                <a:latin typeface="Verdana"/>
                <a:cs typeface="Verdana"/>
              </a:rPr>
              <a:t> </a:t>
            </a:r>
            <a:r>
              <a:rPr sz="1680" dirty="0">
                <a:solidFill>
                  <a:srgbClr val="28467B"/>
                </a:solidFill>
                <a:latin typeface="Verdana"/>
                <a:cs typeface="Verdana"/>
              </a:rPr>
              <a:t>for  chest</a:t>
            </a:r>
            <a:r>
              <a:rPr sz="1680" spc="-8" dirty="0">
                <a:solidFill>
                  <a:srgbClr val="28467B"/>
                </a:solidFill>
                <a:latin typeface="Verdana"/>
                <a:cs typeface="Verdana"/>
              </a:rPr>
              <a:t> leads</a:t>
            </a:r>
            <a:endParaRPr sz="1680" dirty="0">
              <a:latin typeface="Verdana"/>
              <a:cs typeface="Verdana"/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2367281" y="491581"/>
            <a:ext cx="6978904" cy="601190"/>
          </a:xfrm>
          <a:prstGeom prst="rect">
            <a:avLst/>
          </a:prstGeom>
        </p:spPr>
        <p:txBody>
          <a:bodyPr spcFirstLastPara="1" vert="horz" wrap="square" lIns="0" tIns="21336" rIns="0" bIns="0" rtlCol="0" anchor="ctr" anchorCtr="0">
            <a:spAutoFit/>
          </a:bodyPr>
          <a:lstStyle/>
          <a:p>
            <a:pPr marL="20320">
              <a:lnSpc>
                <a:spcPct val="100000"/>
              </a:lnSpc>
              <a:spcBef>
                <a:spcPts val="168"/>
              </a:spcBef>
            </a:pPr>
            <a:r>
              <a:rPr spc="-88" dirty="0"/>
              <a:t>Two </a:t>
            </a:r>
            <a:r>
              <a:rPr u="none" dirty="0"/>
              <a:t>electrode product</a:t>
            </a:r>
            <a:r>
              <a:rPr spc="24" dirty="0"/>
              <a:t> </a:t>
            </a:r>
            <a:r>
              <a:rPr u="none" dirty="0"/>
              <a:t>lines</a:t>
            </a:r>
          </a:p>
        </p:txBody>
      </p:sp>
      <p:sp>
        <p:nvSpPr>
          <p:cNvPr id="5" name="object 5"/>
          <p:cNvSpPr txBox="1"/>
          <p:nvPr/>
        </p:nvSpPr>
        <p:spPr>
          <a:xfrm>
            <a:off x="1954783" y="7545223"/>
            <a:ext cx="176782" cy="611449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20320">
              <a:spcBef>
                <a:spcPts val="160"/>
              </a:spcBef>
            </a:pPr>
            <a:r>
              <a:rPr sz="1920" spc="-8" dirty="0">
                <a:solidFill>
                  <a:srgbClr val="71B0D3"/>
                </a:solidFill>
              </a:rPr>
              <a:t>2</a:t>
            </a:r>
            <a:endParaRPr sz="1920"/>
          </a:p>
          <a:p>
            <a:pPr marL="20320"/>
            <a:r>
              <a:rPr sz="1920" spc="-8" dirty="0">
                <a:solidFill>
                  <a:srgbClr val="71B0D3"/>
                </a:solidFill>
              </a:rPr>
              <a:t>5</a:t>
            </a:r>
            <a:endParaRPr sz="1920"/>
          </a:p>
        </p:txBody>
      </p:sp>
      <p:sp>
        <p:nvSpPr>
          <p:cNvPr id="6" name="object 6"/>
          <p:cNvSpPr/>
          <p:nvPr/>
        </p:nvSpPr>
        <p:spPr>
          <a:xfrm>
            <a:off x="2212849" y="4493972"/>
            <a:ext cx="10148824" cy="2734056"/>
          </a:xfrm>
          <a:custGeom>
            <a:avLst/>
            <a:gdLst/>
            <a:ahLst/>
            <a:cxnLst/>
            <a:rect l="l" t="t" r="r" b="b"/>
            <a:pathLst>
              <a:path w="6343015" h="1708785">
                <a:moveTo>
                  <a:pt x="0" y="1708404"/>
                </a:moveTo>
                <a:lnTo>
                  <a:pt x="6342888" y="1708404"/>
                </a:lnTo>
                <a:lnTo>
                  <a:pt x="6342888" y="0"/>
                </a:lnTo>
                <a:lnTo>
                  <a:pt x="0" y="0"/>
                </a:lnTo>
                <a:lnTo>
                  <a:pt x="0" y="1708404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7" name="object 7"/>
          <p:cNvSpPr txBox="1"/>
          <p:nvPr/>
        </p:nvSpPr>
        <p:spPr>
          <a:xfrm>
            <a:off x="2366874" y="5132427"/>
            <a:ext cx="1314704" cy="279051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20320">
              <a:spcBef>
                <a:spcPts val="160"/>
              </a:spcBef>
            </a:pPr>
            <a:r>
              <a:rPr sz="1680" b="1" dirty="0">
                <a:solidFill>
                  <a:srgbClr val="404040"/>
                </a:solidFill>
                <a:latin typeface="Verdana"/>
                <a:cs typeface="Verdana"/>
              </a:rPr>
              <a:t>Vital</a:t>
            </a:r>
            <a:r>
              <a:rPr sz="1680" b="1" spc="-128" dirty="0">
                <a:solidFill>
                  <a:srgbClr val="404040"/>
                </a:solidFill>
                <a:latin typeface="Verdana"/>
                <a:cs typeface="Verdana"/>
              </a:rPr>
              <a:t> </a:t>
            </a:r>
            <a:r>
              <a:rPr sz="1680" b="1" spc="-8" dirty="0">
                <a:solidFill>
                  <a:srgbClr val="404040"/>
                </a:solidFill>
                <a:latin typeface="Verdana"/>
                <a:cs typeface="Verdana"/>
              </a:rPr>
              <a:t>Signs</a:t>
            </a:r>
            <a:endParaRPr sz="1680">
              <a:latin typeface="Verdana"/>
              <a:cs typeface="Verdana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2395729" y="2160015"/>
            <a:ext cx="1384808" cy="1097416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20320">
              <a:spcBef>
                <a:spcPts val="160"/>
              </a:spcBef>
            </a:pPr>
            <a:r>
              <a:rPr sz="1680" b="1" spc="-8" dirty="0">
                <a:solidFill>
                  <a:srgbClr val="404040"/>
                </a:solidFill>
                <a:latin typeface="Verdana"/>
                <a:cs typeface="Verdana"/>
              </a:rPr>
              <a:t>SilverTrace</a:t>
            </a:r>
            <a:endParaRPr sz="1680">
              <a:latin typeface="Verdana"/>
              <a:cs typeface="Verdana"/>
            </a:endParaRPr>
          </a:p>
          <a:p>
            <a:pPr marL="20320" marR="236728">
              <a:lnSpc>
                <a:spcPct val="171400"/>
              </a:lnSpc>
            </a:pPr>
            <a:r>
              <a:rPr sz="1680" b="1" dirty="0">
                <a:solidFill>
                  <a:srgbClr val="404040"/>
                </a:solidFill>
                <a:latin typeface="Verdana"/>
                <a:cs typeface="Verdana"/>
              </a:rPr>
              <a:t>Mactrode  Ba</a:t>
            </a:r>
            <a:r>
              <a:rPr sz="1680" b="1" spc="-8" dirty="0">
                <a:solidFill>
                  <a:srgbClr val="404040"/>
                </a:solidFill>
                <a:latin typeface="Verdana"/>
                <a:cs typeface="Verdana"/>
              </a:rPr>
              <a:t>b</a:t>
            </a:r>
            <a:r>
              <a:rPr sz="1680" b="1" dirty="0">
                <a:solidFill>
                  <a:srgbClr val="404040"/>
                </a:solidFill>
                <a:latin typeface="Verdana"/>
                <a:cs typeface="Verdana"/>
              </a:rPr>
              <a:t>yMAC</a:t>
            </a:r>
            <a:endParaRPr sz="1680">
              <a:latin typeface="Verdana"/>
              <a:cs typeface="Verdana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7832141" y="1616658"/>
            <a:ext cx="1372819" cy="4888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0" name="object 10"/>
          <p:cNvSpPr/>
          <p:nvPr/>
        </p:nvSpPr>
        <p:spPr>
          <a:xfrm>
            <a:off x="7993074" y="6152083"/>
            <a:ext cx="927810" cy="43891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1" name="object 11"/>
          <p:cNvSpPr/>
          <p:nvPr/>
        </p:nvSpPr>
        <p:spPr>
          <a:xfrm>
            <a:off x="7691933" y="6784847"/>
            <a:ext cx="1530096" cy="404773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2" name="object 12"/>
          <p:cNvSpPr/>
          <p:nvPr/>
        </p:nvSpPr>
        <p:spPr>
          <a:xfrm>
            <a:off x="7769208" y="3360847"/>
            <a:ext cx="1498051" cy="121846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3" name="object 13"/>
          <p:cNvSpPr/>
          <p:nvPr/>
        </p:nvSpPr>
        <p:spPr>
          <a:xfrm>
            <a:off x="8100366" y="2877313"/>
            <a:ext cx="1326488" cy="67177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4" name="object 14"/>
          <p:cNvSpPr/>
          <p:nvPr/>
        </p:nvSpPr>
        <p:spPr>
          <a:xfrm>
            <a:off x="7826045" y="4579316"/>
            <a:ext cx="1406957" cy="139232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5" name="object 15"/>
          <p:cNvSpPr/>
          <p:nvPr/>
        </p:nvSpPr>
        <p:spPr>
          <a:xfrm>
            <a:off x="8763609" y="2016555"/>
            <a:ext cx="785163" cy="741274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6" name="object 16"/>
          <p:cNvSpPr txBox="1"/>
          <p:nvPr/>
        </p:nvSpPr>
        <p:spPr>
          <a:xfrm>
            <a:off x="4265167" y="5132426"/>
            <a:ext cx="2939288" cy="1571712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225552" indent="-206248">
              <a:spcBef>
                <a:spcPts val="160"/>
              </a:spcBef>
              <a:buFont typeface="Arial"/>
              <a:buChar char="•"/>
              <a:tabLst>
                <a:tab pos="226568" algn="l"/>
              </a:tabLst>
            </a:pPr>
            <a:r>
              <a:rPr sz="1680" dirty="0">
                <a:solidFill>
                  <a:srgbClr val="28467B"/>
                </a:solidFill>
                <a:latin typeface="Verdana"/>
                <a:cs typeface="Verdana"/>
              </a:rPr>
              <a:t>Basic solution</a:t>
            </a:r>
            <a:r>
              <a:rPr sz="1680" spc="-8" dirty="0">
                <a:solidFill>
                  <a:srgbClr val="28467B"/>
                </a:solidFill>
                <a:latin typeface="Verdana"/>
                <a:cs typeface="Verdana"/>
              </a:rPr>
              <a:t> </a:t>
            </a:r>
            <a:r>
              <a:rPr sz="1680" dirty="0">
                <a:solidFill>
                  <a:srgbClr val="28467B"/>
                </a:solidFill>
                <a:latin typeface="Verdana"/>
                <a:cs typeface="Verdana"/>
              </a:rPr>
              <a:t>for</a:t>
            </a:r>
            <a:endParaRPr sz="1680">
              <a:latin typeface="Verdana"/>
              <a:cs typeface="Verdana"/>
            </a:endParaRPr>
          </a:p>
          <a:p>
            <a:pPr marL="774192" lvl="1" indent="-206248">
              <a:buFont typeface="Arial"/>
              <a:buChar char="•"/>
              <a:tabLst>
                <a:tab pos="775208" algn="l"/>
              </a:tabLst>
            </a:pPr>
            <a:r>
              <a:rPr sz="1680" spc="-8" dirty="0">
                <a:solidFill>
                  <a:srgbClr val="28467B"/>
                </a:solidFill>
                <a:latin typeface="Verdana"/>
                <a:cs typeface="Verdana"/>
              </a:rPr>
              <a:t>Resting,</a:t>
            </a:r>
            <a:r>
              <a:rPr sz="1680" spc="-32" dirty="0">
                <a:solidFill>
                  <a:srgbClr val="28467B"/>
                </a:solidFill>
                <a:latin typeface="Verdana"/>
                <a:cs typeface="Verdana"/>
              </a:rPr>
              <a:t> </a:t>
            </a:r>
            <a:r>
              <a:rPr sz="1680" dirty="0">
                <a:solidFill>
                  <a:srgbClr val="28467B"/>
                </a:solidFill>
                <a:latin typeface="Verdana"/>
                <a:cs typeface="Verdana"/>
              </a:rPr>
              <a:t>general</a:t>
            </a:r>
            <a:endParaRPr sz="1680">
              <a:latin typeface="Verdana"/>
              <a:cs typeface="Verdana"/>
            </a:endParaRPr>
          </a:p>
          <a:p>
            <a:pPr marL="774192" lvl="1" indent="-206248">
              <a:buFont typeface="Arial"/>
              <a:buChar char="•"/>
              <a:tabLst>
                <a:tab pos="775208" algn="l"/>
              </a:tabLst>
            </a:pPr>
            <a:r>
              <a:rPr sz="1680" spc="-8" dirty="0">
                <a:solidFill>
                  <a:srgbClr val="28467B"/>
                </a:solidFill>
                <a:latin typeface="Verdana"/>
                <a:cs typeface="Verdana"/>
              </a:rPr>
              <a:t>Short-term</a:t>
            </a:r>
            <a:endParaRPr sz="1680">
              <a:latin typeface="Verdana"/>
              <a:cs typeface="Verdana"/>
            </a:endParaRPr>
          </a:p>
          <a:p>
            <a:pPr marL="774192" lvl="1" indent="-206248">
              <a:buFont typeface="Arial"/>
              <a:buChar char="•"/>
              <a:tabLst>
                <a:tab pos="775208" algn="l"/>
              </a:tabLst>
            </a:pPr>
            <a:r>
              <a:rPr sz="1680" spc="-8" dirty="0">
                <a:solidFill>
                  <a:srgbClr val="28467B"/>
                </a:solidFill>
                <a:latin typeface="Verdana"/>
                <a:cs typeface="Verdana"/>
              </a:rPr>
              <a:t>General</a:t>
            </a:r>
            <a:r>
              <a:rPr sz="1680" spc="520" dirty="0">
                <a:solidFill>
                  <a:srgbClr val="28467B"/>
                </a:solidFill>
                <a:latin typeface="Verdana"/>
                <a:cs typeface="Verdana"/>
              </a:rPr>
              <a:t> </a:t>
            </a:r>
            <a:r>
              <a:rPr sz="1680" spc="-8" dirty="0">
                <a:solidFill>
                  <a:srgbClr val="28467B"/>
                </a:solidFill>
                <a:latin typeface="Verdana"/>
                <a:cs typeface="Verdana"/>
              </a:rPr>
              <a:t>monitoring</a:t>
            </a:r>
            <a:endParaRPr sz="1680">
              <a:latin typeface="Verdana"/>
              <a:cs typeface="Verdana"/>
            </a:endParaRPr>
          </a:p>
          <a:p>
            <a:pPr marL="774192" marR="751840" lvl="1" indent="-206248">
              <a:buFont typeface="Arial"/>
              <a:buChar char="•"/>
              <a:tabLst>
                <a:tab pos="775208" algn="l"/>
              </a:tabLst>
            </a:pPr>
            <a:r>
              <a:rPr sz="1680" spc="-8" dirty="0">
                <a:solidFill>
                  <a:srgbClr val="28467B"/>
                </a:solidFill>
                <a:latin typeface="Verdana"/>
                <a:cs typeface="Verdana"/>
              </a:rPr>
              <a:t>Pre-wired</a:t>
            </a:r>
            <a:r>
              <a:rPr sz="1680" spc="-112" dirty="0">
                <a:solidFill>
                  <a:srgbClr val="28467B"/>
                </a:solidFill>
                <a:latin typeface="Verdana"/>
                <a:cs typeface="Verdana"/>
              </a:rPr>
              <a:t> </a:t>
            </a:r>
            <a:r>
              <a:rPr sz="1680" dirty="0">
                <a:solidFill>
                  <a:srgbClr val="28467B"/>
                </a:solidFill>
                <a:latin typeface="Verdana"/>
                <a:cs typeface="Verdana"/>
              </a:rPr>
              <a:t>for  neonates</a:t>
            </a:r>
            <a:endParaRPr sz="1680">
              <a:latin typeface="Verdana"/>
              <a:cs typeface="Verdan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2367281" y="1541475"/>
            <a:ext cx="1923288" cy="279051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20320">
              <a:spcBef>
                <a:spcPts val="160"/>
              </a:spcBef>
            </a:pPr>
            <a:r>
              <a:rPr sz="1680" b="1" u="heavy" spc="-8" dirty="0">
                <a:solidFill>
                  <a:srgbClr val="404040"/>
                </a:solidFill>
                <a:uFill>
                  <a:solidFill>
                    <a:srgbClr val="404040"/>
                  </a:solidFill>
                </a:uFill>
                <a:latin typeface="Verdana"/>
                <a:cs typeface="Verdana"/>
              </a:rPr>
              <a:t>Quality</a:t>
            </a:r>
            <a:r>
              <a:rPr sz="1680" b="1" u="heavy" spc="-88" dirty="0">
                <a:solidFill>
                  <a:srgbClr val="404040"/>
                </a:solidFill>
                <a:uFill>
                  <a:solidFill>
                    <a:srgbClr val="404040"/>
                  </a:solidFill>
                </a:uFill>
                <a:latin typeface="Verdana"/>
                <a:cs typeface="Verdana"/>
              </a:rPr>
              <a:t> </a:t>
            </a:r>
            <a:r>
              <a:rPr sz="1680" b="1" u="heavy" dirty="0">
                <a:solidFill>
                  <a:srgbClr val="404040"/>
                </a:solidFill>
                <a:uFill>
                  <a:solidFill>
                    <a:srgbClr val="404040"/>
                  </a:solidFill>
                </a:uFill>
                <a:latin typeface="Verdana"/>
                <a:cs typeface="Verdana"/>
              </a:rPr>
              <a:t>offering</a:t>
            </a:r>
            <a:endParaRPr sz="1680">
              <a:latin typeface="Verdana"/>
              <a:cs typeface="Verdan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2367280" y="4546398"/>
            <a:ext cx="1737360" cy="279051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20320">
              <a:spcBef>
                <a:spcPts val="160"/>
              </a:spcBef>
            </a:pPr>
            <a:r>
              <a:rPr sz="1680" b="1" u="heavy" spc="-8" dirty="0">
                <a:solidFill>
                  <a:srgbClr val="404040"/>
                </a:solidFill>
                <a:uFill>
                  <a:solidFill>
                    <a:srgbClr val="404040"/>
                  </a:solidFill>
                </a:uFill>
                <a:latin typeface="Verdana"/>
                <a:cs typeface="Verdana"/>
              </a:rPr>
              <a:t>Value</a:t>
            </a:r>
            <a:r>
              <a:rPr sz="1680" b="1" u="heavy" spc="-96" dirty="0">
                <a:solidFill>
                  <a:srgbClr val="404040"/>
                </a:solidFill>
                <a:uFill>
                  <a:solidFill>
                    <a:srgbClr val="404040"/>
                  </a:solidFill>
                </a:uFill>
                <a:latin typeface="Verdana"/>
                <a:cs typeface="Verdana"/>
              </a:rPr>
              <a:t> </a:t>
            </a:r>
            <a:r>
              <a:rPr sz="1680" b="1" u="heavy" dirty="0">
                <a:solidFill>
                  <a:srgbClr val="404040"/>
                </a:solidFill>
                <a:uFill>
                  <a:solidFill>
                    <a:srgbClr val="404040"/>
                  </a:solidFill>
                </a:uFill>
                <a:latin typeface="Verdana"/>
                <a:cs typeface="Verdana"/>
              </a:rPr>
              <a:t>offering</a:t>
            </a:r>
            <a:endParaRPr sz="1680">
              <a:latin typeface="Verdana"/>
              <a:cs typeface="Verdana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7791906" y="2240889"/>
            <a:ext cx="681533" cy="871726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20" name="object 20"/>
          <p:cNvSpPr txBox="1"/>
          <p:nvPr/>
        </p:nvSpPr>
        <p:spPr>
          <a:xfrm>
            <a:off x="9845445" y="1534161"/>
            <a:ext cx="2391664" cy="2328843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402336" indent="-362712">
              <a:lnSpc>
                <a:spcPts val="2000"/>
              </a:lnSpc>
              <a:spcBef>
                <a:spcPts val="160"/>
              </a:spcBef>
              <a:buClr>
                <a:srgbClr val="00776F"/>
              </a:buClr>
              <a:buSzPct val="114285"/>
              <a:buFont typeface="Wingdings"/>
              <a:buChar char=""/>
              <a:tabLst>
                <a:tab pos="403352" algn="l"/>
              </a:tabLst>
            </a:pPr>
            <a:r>
              <a:rPr sz="1680" dirty="0">
                <a:solidFill>
                  <a:srgbClr val="28467B"/>
                </a:solidFill>
                <a:latin typeface="Verdana"/>
                <a:cs typeface="Verdana"/>
              </a:rPr>
              <a:t>Foam</a:t>
            </a:r>
            <a:endParaRPr sz="1680">
              <a:latin typeface="Verdana"/>
              <a:cs typeface="Verdana"/>
            </a:endParaRPr>
          </a:p>
          <a:p>
            <a:pPr marL="402336" indent="-362712">
              <a:lnSpc>
                <a:spcPts val="2000"/>
              </a:lnSpc>
              <a:buClr>
                <a:srgbClr val="00776F"/>
              </a:buClr>
              <a:buSzPct val="114285"/>
              <a:buFont typeface="Wingdings"/>
              <a:buChar char=""/>
              <a:tabLst>
                <a:tab pos="403352" algn="l"/>
              </a:tabLst>
            </a:pPr>
            <a:r>
              <a:rPr sz="1680" spc="-8" dirty="0">
                <a:solidFill>
                  <a:srgbClr val="28467B"/>
                </a:solidFill>
                <a:latin typeface="Verdana"/>
                <a:cs typeface="Verdana"/>
              </a:rPr>
              <a:t>Cloth</a:t>
            </a:r>
            <a:endParaRPr sz="1680">
              <a:latin typeface="Verdana"/>
              <a:cs typeface="Verdana"/>
            </a:endParaRPr>
          </a:p>
          <a:p>
            <a:pPr marL="402336" indent="-362712">
              <a:lnSpc>
                <a:spcPts val="2000"/>
              </a:lnSpc>
              <a:spcBef>
                <a:spcPts val="40"/>
              </a:spcBef>
              <a:buClr>
                <a:srgbClr val="00776F"/>
              </a:buClr>
              <a:buSzPct val="114285"/>
              <a:buFont typeface="Wingdings"/>
              <a:buChar char=""/>
              <a:tabLst>
                <a:tab pos="403352" algn="l"/>
              </a:tabLst>
            </a:pPr>
            <a:r>
              <a:rPr sz="1680" spc="-8" dirty="0">
                <a:solidFill>
                  <a:srgbClr val="28467B"/>
                </a:solidFill>
                <a:latin typeface="Verdana"/>
                <a:cs typeface="Verdana"/>
              </a:rPr>
              <a:t>Clear</a:t>
            </a:r>
            <a:r>
              <a:rPr sz="1680" spc="-136" dirty="0">
                <a:solidFill>
                  <a:srgbClr val="28467B"/>
                </a:solidFill>
                <a:latin typeface="Verdana"/>
                <a:cs typeface="Verdana"/>
              </a:rPr>
              <a:t> </a:t>
            </a:r>
            <a:r>
              <a:rPr sz="1680" spc="-8" dirty="0">
                <a:solidFill>
                  <a:srgbClr val="28467B"/>
                </a:solidFill>
                <a:latin typeface="Verdana"/>
                <a:cs typeface="Verdana"/>
              </a:rPr>
              <a:t>Tape</a:t>
            </a:r>
            <a:endParaRPr sz="1680">
              <a:latin typeface="Verdana"/>
              <a:cs typeface="Verdana"/>
            </a:endParaRPr>
          </a:p>
          <a:p>
            <a:pPr marL="402336" marR="129032" indent="-362712">
              <a:lnSpc>
                <a:spcPts val="2016"/>
              </a:lnSpc>
              <a:spcBef>
                <a:spcPts val="48"/>
              </a:spcBef>
              <a:buClr>
                <a:srgbClr val="00776F"/>
              </a:buClr>
              <a:buSzPct val="114285"/>
              <a:buFont typeface="Wingdings"/>
              <a:buChar char=""/>
              <a:tabLst>
                <a:tab pos="403352" algn="l"/>
              </a:tabLst>
            </a:pPr>
            <a:r>
              <a:rPr sz="1680" spc="-8" dirty="0">
                <a:solidFill>
                  <a:srgbClr val="28467B"/>
                </a:solidFill>
                <a:latin typeface="Verdana"/>
                <a:cs typeface="Verdana"/>
              </a:rPr>
              <a:t>Microporous</a:t>
            </a:r>
            <a:r>
              <a:rPr sz="1680" spc="-120" dirty="0">
                <a:solidFill>
                  <a:srgbClr val="28467B"/>
                </a:solidFill>
                <a:latin typeface="Verdana"/>
                <a:cs typeface="Verdana"/>
              </a:rPr>
              <a:t> </a:t>
            </a:r>
            <a:r>
              <a:rPr sz="1680" dirty="0">
                <a:solidFill>
                  <a:srgbClr val="28467B"/>
                </a:solidFill>
                <a:latin typeface="Verdana"/>
                <a:cs typeface="Verdana"/>
              </a:rPr>
              <a:t>tape  </a:t>
            </a:r>
            <a:r>
              <a:rPr sz="1680" spc="-8" dirty="0">
                <a:solidFill>
                  <a:srgbClr val="28467B"/>
                </a:solidFill>
                <a:latin typeface="Verdana"/>
                <a:cs typeface="Verdana"/>
              </a:rPr>
              <a:t>Pre-wired</a:t>
            </a:r>
            <a:endParaRPr sz="1680">
              <a:latin typeface="Verdana"/>
              <a:cs typeface="Verdana"/>
            </a:endParaRPr>
          </a:p>
          <a:p>
            <a:pPr marL="402336" marR="1056640">
              <a:lnSpc>
                <a:spcPts val="2016"/>
              </a:lnSpc>
            </a:pPr>
            <a:r>
              <a:rPr sz="1680" dirty="0">
                <a:solidFill>
                  <a:srgbClr val="28467B"/>
                </a:solidFill>
                <a:latin typeface="Verdana"/>
                <a:cs typeface="Verdana"/>
              </a:rPr>
              <a:t>Wet gel  Solid</a:t>
            </a:r>
            <a:r>
              <a:rPr sz="1680" spc="-136" dirty="0">
                <a:solidFill>
                  <a:srgbClr val="28467B"/>
                </a:solidFill>
                <a:latin typeface="Verdana"/>
                <a:cs typeface="Verdana"/>
              </a:rPr>
              <a:t> </a:t>
            </a:r>
            <a:r>
              <a:rPr sz="1680" spc="-8" dirty="0">
                <a:solidFill>
                  <a:srgbClr val="28467B"/>
                </a:solidFill>
                <a:latin typeface="Verdana"/>
                <a:cs typeface="Verdana"/>
              </a:rPr>
              <a:t>gel</a:t>
            </a:r>
            <a:endParaRPr sz="1680">
              <a:latin typeface="Verdana"/>
              <a:cs typeface="Verdana"/>
            </a:endParaRPr>
          </a:p>
          <a:p>
            <a:pPr marL="402336" marR="48768">
              <a:lnSpc>
                <a:spcPts val="2016"/>
              </a:lnSpc>
            </a:pPr>
            <a:r>
              <a:rPr sz="1680" dirty="0">
                <a:solidFill>
                  <a:srgbClr val="28467B"/>
                </a:solidFill>
                <a:latin typeface="Verdana"/>
                <a:cs typeface="Verdana"/>
              </a:rPr>
              <a:t>Variety of shapes  Banana</a:t>
            </a:r>
            <a:r>
              <a:rPr sz="1680" spc="-112" dirty="0">
                <a:solidFill>
                  <a:srgbClr val="28467B"/>
                </a:solidFill>
                <a:latin typeface="Verdana"/>
                <a:cs typeface="Verdana"/>
              </a:rPr>
              <a:t> </a:t>
            </a:r>
            <a:r>
              <a:rPr sz="1680" spc="-8" dirty="0">
                <a:solidFill>
                  <a:srgbClr val="28467B"/>
                </a:solidFill>
                <a:latin typeface="Verdana"/>
                <a:cs typeface="Verdana"/>
              </a:rPr>
              <a:t>connector</a:t>
            </a:r>
            <a:endParaRPr sz="1680">
              <a:latin typeface="Verdana"/>
              <a:cs typeface="Verdan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9904375" y="2475382"/>
            <a:ext cx="155448" cy="315984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>
              <a:spcBef>
                <a:spcPts val="160"/>
              </a:spcBef>
            </a:pPr>
            <a:r>
              <a:rPr sz="1920" dirty="0">
                <a:solidFill>
                  <a:srgbClr val="C30C3D"/>
                </a:solidFill>
                <a:latin typeface="Wingdings"/>
                <a:cs typeface="Wingdings"/>
              </a:rPr>
              <a:t></a:t>
            </a:r>
            <a:endParaRPr sz="1920">
              <a:latin typeface="Wingdings"/>
              <a:cs typeface="Wingdings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9825126" y="4546397"/>
            <a:ext cx="2333752" cy="2341667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343406" indent="-283464">
              <a:lnSpc>
                <a:spcPts val="1976"/>
              </a:lnSpc>
              <a:spcBef>
                <a:spcPts val="160"/>
              </a:spcBef>
              <a:buClr>
                <a:srgbClr val="00776F"/>
              </a:buClr>
              <a:buSzPct val="114285"/>
              <a:buFont typeface="Wingdings"/>
              <a:buChar char=""/>
              <a:tabLst>
                <a:tab pos="344424" algn="l"/>
              </a:tabLst>
            </a:pPr>
            <a:r>
              <a:rPr sz="2520" baseline="2645" dirty="0">
                <a:solidFill>
                  <a:srgbClr val="28467B"/>
                </a:solidFill>
                <a:latin typeface="Verdana"/>
                <a:cs typeface="Verdana"/>
              </a:rPr>
              <a:t>Foam</a:t>
            </a:r>
            <a:endParaRPr sz="2520" baseline="2645">
              <a:latin typeface="Verdana"/>
              <a:cs typeface="Verdana"/>
            </a:endParaRPr>
          </a:p>
          <a:p>
            <a:pPr marL="343406" indent="-283464">
              <a:lnSpc>
                <a:spcPts val="1976"/>
              </a:lnSpc>
              <a:buClr>
                <a:srgbClr val="00776F"/>
              </a:buClr>
              <a:buSzPct val="114285"/>
              <a:buFont typeface="Wingdings"/>
              <a:buChar char=""/>
              <a:tabLst>
                <a:tab pos="344424" algn="l"/>
              </a:tabLst>
            </a:pPr>
            <a:r>
              <a:rPr sz="1680" spc="-8" dirty="0">
                <a:solidFill>
                  <a:srgbClr val="28467B"/>
                </a:solidFill>
                <a:latin typeface="Verdana"/>
                <a:cs typeface="Verdana"/>
              </a:rPr>
              <a:t>Cloth</a:t>
            </a:r>
            <a:endParaRPr sz="1680">
              <a:latin typeface="Verdana"/>
              <a:cs typeface="Verdana"/>
            </a:endParaRPr>
          </a:p>
          <a:p>
            <a:pPr marL="343406" indent="-283464">
              <a:lnSpc>
                <a:spcPts val="1848"/>
              </a:lnSpc>
              <a:spcBef>
                <a:spcPts val="120"/>
              </a:spcBef>
              <a:buClr>
                <a:srgbClr val="00776F"/>
              </a:buClr>
              <a:buSzPct val="114285"/>
              <a:buFont typeface="Wingdings"/>
              <a:buChar char=""/>
              <a:tabLst>
                <a:tab pos="344424" algn="l"/>
              </a:tabLst>
            </a:pPr>
            <a:r>
              <a:rPr sz="2520" spc="-11" baseline="5291" dirty="0">
                <a:solidFill>
                  <a:srgbClr val="28467B"/>
                </a:solidFill>
                <a:latin typeface="Verdana"/>
                <a:cs typeface="Verdana"/>
              </a:rPr>
              <a:t>Clear</a:t>
            </a:r>
            <a:r>
              <a:rPr sz="2520" baseline="5291" dirty="0">
                <a:solidFill>
                  <a:srgbClr val="28467B"/>
                </a:solidFill>
                <a:latin typeface="Verdana"/>
                <a:cs typeface="Verdana"/>
              </a:rPr>
              <a:t> </a:t>
            </a:r>
            <a:r>
              <a:rPr sz="2520" spc="-11" baseline="5291" dirty="0">
                <a:solidFill>
                  <a:srgbClr val="28467B"/>
                </a:solidFill>
                <a:latin typeface="Verdana"/>
                <a:cs typeface="Verdana"/>
              </a:rPr>
              <a:t>Tape</a:t>
            </a:r>
            <a:endParaRPr sz="2520" baseline="5291">
              <a:latin typeface="Verdana"/>
              <a:cs typeface="Verdana"/>
            </a:endParaRPr>
          </a:p>
          <a:p>
            <a:pPr marL="79248">
              <a:lnSpc>
                <a:spcPts val="2096"/>
              </a:lnSpc>
            </a:pPr>
            <a:r>
              <a:rPr sz="1920" dirty="0">
                <a:solidFill>
                  <a:srgbClr val="C30C3D"/>
                </a:solidFill>
                <a:latin typeface="Wingdings"/>
                <a:cs typeface="Wingdings"/>
              </a:rPr>
              <a:t></a:t>
            </a:r>
            <a:r>
              <a:rPr sz="1920" dirty="0">
                <a:solidFill>
                  <a:srgbClr val="C30C3D"/>
                </a:solidFill>
                <a:latin typeface="Times New Roman"/>
                <a:cs typeface="Times New Roman"/>
              </a:rPr>
              <a:t> </a:t>
            </a:r>
            <a:r>
              <a:rPr sz="1680" spc="-8" dirty="0">
                <a:solidFill>
                  <a:srgbClr val="28467B"/>
                </a:solidFill>
                <a:latin typeface="Verdana"/>
                <a:cs typeface="Verdana"/>
              </a:rPr>
              <a:t>Microporous</a:t>
            </a:r>
            <a:r>
              <a:rPr sz="1680" spc="-168" dirty="0">
                <a:solidFill>
                  <a:srgbClr val="28467B"/>
                </a:solidFill>
                <a:latin typeface="Verdana"/>
                <a:cs typeface="Verdana"/>
              </a:rPr>
              <a:t> </a:t>
            </a:r>
            <a:r>
              <a:rPr sz="1680" dirty="0">
                <a:solidFill>
                  <a:srgbClr val="28467B"/>
                </a:solidFill>
                <a:latin typeface="Verdana"/>
                <a:cs typeface="Verdana"/>
              </a:rPr>
              <a:t>tape</a:t>
            </a:r>
            <a:endParaRPr sz="1680">
              <a:latin typeface="Verdana"/>
              <a:cs typeface="Verdana"/>
            </a:endParaRPr>
          </a:p>
          <a:p>
            <a:pPr marL="343406" indent="-283464">
              <a:lnSpc>
                <a:spcPts val="1976"/>
              </a:lnSpc>
              <a:buClr>
                <a:srgbClr val="00776F"/>
              </a:buClr>
              <a:buSzPct val="114285"/>
              <a:buFont typeface="Wingdings"/>
              <a:buChar char=""/>
              <a:tabLst>
                <a:tab pos="344424" algn="l"/>
              </a:tabLst>
            </a:pPr>
            <a:r>
              <a:rPr sz="1680" spc="-8" dirty="0">
                <a:solidFill>
                  <a:srgbClr val="28467B"/>
                </a:solidFill>
                <a:latin typeface="Verdana"/>
                <a:cs typeface="Verdana"/>
              </a:rPr>
              <a:t>Pre-wired</a:t>
            </a:r>
            <a:endParaRPr sz="1680">
              <a:latin typeface="Verdana"/>
              <a:cs typeface="Verdana"/>
            </a:endParaRPr>
          </a:p>
          <a:p>
            <a:pPr marL="343406" indent="-283464">
              <a:lnSpc>
                <a:spcPts val="1952"/>
              </a:lnSpc>
              <a:spcBef>
                <a:spcPts val="144"/>
              </a:spcBef>
              <a:buClr>
                <a:srgbClr val="00776F"/>
              </a:buClr>
              <a:buSzPct val="114285"/>
              <a:buFont typeface="Wingdings"/>
              <a:buChar char=""/>
              <a:tabLst>
                <a:tab pos="344424" algn="l"/>
              </a:tabLst>
            </a:pPr>
            <a:r>
              <a:rPr sz="2520" baseline="5291" dirty="0">
                <a:solidFill>
                  <a:srgbClr val="28467B"/>
                </a:solidFill>
                <a:latin typeface="Verdana"/>
                <a:cs typeface="Verdana"/>
              </a:rPr>
              <a:t>Wet</a:t>
            </a:r>
            <a:r>
              <a:rPr sz="2520" spc="-24" baseline="5291" dirty="0">
                <a:solidFill>
                  <a:srgbClr val="28467B"/>
                </a:solidFill>
                <a:latin typeface="Verdana"/>
                <a:cs typeface="Verdana"/>
              </a:rPr>
              <a:t> </a:t>
            </a:r>
            <a:r>
              <a:rPr sz="2520" baseline="5291" dirty="0">
                <a:solidFill>
                  <a:srgbClr val="28467B"/>
                </a:solidFill>
                <a:latin typeface="Verdana"/>
                <a:cs typeface="Verdana"/>
              </a:rPr>
              <a:t>gel</a:t>
            </a:r>
            <a:endParaRPr sz="2520" baseline="5291">
              <a:latin typeface="Verdana"/>
              <a:cs typeface="Verdana"/>
            </a:endParaRPr>
          </a:p>
          <a:p>
            <a:pPr marL="343406" indent="-283464">
              <a:lnSpc>
                <a:spcPts val="1832"/>
              </a:lnSpc>
              <a:buClr>
                <a:srgbClr val="00776F"/>
              </a:buClr>
              <a:buSzPct val="114285"/>
              <a:buFont typeface="Wingdings"/>
              <a:buChar char=""/>
              <a:tabLst>
                <a:tab pos="344424" algn="l"/>
              </a:tabLst>
            </a:pPr>
            <a:r>
              <a:rPr sz="1680" dirty="0">
                <a:solidFill>
                  <a:srgbClr val="28467B"/>
                </a:solidFill>
                <a:latin typeface="Verdana"/>
                <a:cs typeface="Verdana"/>
              </a:rPr>
              <a:t>Solid</a:t>
            </a:r>
            <a:r>
              <a:rPr sz="1680" spc="-16" dirty="0">
                <a:solidFill>
                  <a:srgbClr val="28467B"/>
                </a:solidFill>
                <a:latin typeface="Verdana"/>
                <a:cs typeface="Verdana"/>
              </a:rPr>
              <a:t> </a:t>
            </a:r>
            <a:r>
              <a:rPr sz="1680" spc="-8" dirty="0">
                <a:solidFill>
                  <a:srgbClr val="28467B"/>
                </a:solidFill>
                <a:latin typeface="Verdana"/>
                <a:cs typeface="Verdana"/>
              </a:rPr>
              <a:t>gel</a:t>
            </a:r>
            <a:endParaRPr sz="1680">
              <a:latin typeface="Verdana"/>
              <a:cs typeface="Verdana"/>
            </a:endParaRPr>
          </a:p>
          <a:p>
            <a:pPr marL="79248">
              <a:lnSpc>
                <a:spcPts val="2040"/>
              </a:lnSpc>
            </a:pPr>
            <a:r>
              <a:rPr sz="2880" baseline="2314" dirty="0">
                <a:solidFill>
                  <a:srgbClr val="C30C3D"/>
                </a:solidFill>
                <a:latin typeface="Wingdings"/>
                <a:cs typeface="Wingdings"/>
              </a:rPr>
              <a:t></a:t>
            </a:r>
            <a:r>
              <a:rPr sz="2880" baseline="2314" dirty="0">
                <a:solidFill>
                  <a:srgbClr val="C30C3D"/>
                </a:solidFill>
                <a:latin typeface="Times New Roman"/>
                <a:cs typeface="Times New Roman"/>
              </a:rPr>
              <a:t> </a:t>
            </a:r>
            <a:r>
              <a:rPr sz="1680" dirty="0">
                <a:solidFill>
                  <a:srgbClr val="28467B"/>
                </a:solidFill>
                <a:latin typeface="Verdana"/>
                <a:cs typeface="Verdana"/>
              </a:rPr>
              <a:t>Variety of</a:t>
            </a:r>
            <a:r>
              <a:rPr sz="1680" spc="-200" dirty="0">
                <a:solidFill>
                  <a:srgbClr val="28467B"/>
                </a:solidFill>
                <a:latin typeface="Verdana"/>
                <a:cs typeface="Verdana"/>
              </a:rPr>
              <a:t> </a:t>
            </a:r>
            <a:r>
              <a:rPr sz="1680" dirty="0">
                <a:solidFill>
                  <a:srgbClr val="28467B"/>
                </a:solidFill>
                <a:latin typeface="Verdana"/>
                <a:cs typeface="Verdana"/>
              </a:rPr>
              <a:t>shapes</a:t>
            </a:r>
            <a:endParaRPr sz="1680">
              <a:latin typeface="Verdana"/>
              <a:cs typeface="Verdana"/>
            </a:endParaRPr>
          </a:p>
          <a:p>
            <a:pPr marL="79248">
              <a:lnSpc>
                <a:spcPts val="2160"/>
              </a:lnSpc>
            </a:pPr>
            <a:r>
              <a:rPr sz="2880" baseline="-9259" dirty="0">
                <a:solidFill>
                  <a:srgbClr val="C30C3D"/>
                </a:solidFill>
                <a:latin typeface="Wingdings"/>
                <a:cs typeface="Wingdings"/>
              </a:rPr>
              <a:t></a:t>
            </a:r>
            <a:r>
              <a:rPr sz="2880" baseline="-9259" dirty="0">
                <a:solidFill>
                  <a:srgbClr val="C30C3D"/>
                </a:solidFill>
                <a:latin typeface="Times New Roman"/>
                <a:cs typeface="Times New Roman"/>
              </a:rPr>
              <a:t> </a:t>
            </a:r>
            <a:r>
              <a:rPr sz="1680" dirty="0">
                <a:solidFill>
                  <a:srgbClr val="28467B"/>
                </a:solidFill>
                <a:latin typeface="Verdana"/>
                <a:cs typeface="Verdana"/>
              </a:rPr>
              <a:t>Banana</a:t>
            </a:r>
            <a:r>
              <a:rPr sz="1680" spc="-182" dirty="0">
                <a:solidFill>
                  <a:srgbClr val="28467B"/>
                </a:solidFill>
                <a:latin typeface="Verdana"/>
                <a:cs typeface="Verdana"/>
              </a:rPr>
              <a:t> </a:t>
            </a:r>
            <a:r>
              <a:rPr sz="1680" spc="-8" dirty="0">
                <a:solidFill>
                  <a:srgbClr val="28467B"/>
                </a:solidFill>
                <a:latin typeface="Verdana"/>
                <a:cs typeface="Verdana"/>
              </a:rPr>
              <a:t>connector</a:t>
            </a:r>
            <a:endParaRPr sz="1680">
              <a:latin typeface="Verdana"/>
              <a:cs typeface="Verdan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9886085" y="2752952"/>
            <a:ext cx="192022" cy="1124410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>
              <a:lnSpc>
                <a:spcPts val="2016"/>
              </a:lnSpc>
              <a:spcBef>
                <a:spcPts val="160"/>
              </a:spcBef>
            </a:pPr>
            <a:r>
              <a:rPr sz="1920" dirty="0">
                <a:solidFill>
                  <a:srgbClr val="00776F"/>
                </a:solidFill>
                <a:latin typeface="Wingdings"/>
                <a:cs typeface="Wingdings"/>
              </a:rPr>
              <a:t></a:t>
            </a:r>
            <a:endParaRPr sz="1920">
              <a:latin typeface="Wingdings"/>
              <a:cs typeface="Wingdings"/>
            </a:endParaRPr>
          </a:p>
          <a:p>
            <a:pPr>
              <a:lnSpc>
                <a:spcPts val="2016"/>
              </a:lnSpc>
            </a:pPr>
            <a:r>
              <a:rPr sz="1920" dirty="0">
                <a:solidFill>
                  <a:srgbClr val="00776F"/>
                </a:solidFill>
                <a:latin typeface="Wingdings"/>
                <a:cs typeface="Wingdings"/>
              </a:rPr>
              <a:t></a:t>
            </a:r>
            <a:endParaRPr sz="1920">
              <a:latin typeface="Wingdings"/>
              <a:cs typeface="Wingdings"/>
            </a:endParaRPr>
          </a:p>
          <a:p>
            <a:pPr>
              <a:spcBef>
                <a:spcPts val="8"/>
              </a:spcBef>
            </a:pPr>
            <a:r>
              <a:rPr sz="1920" dirty="0">
                <a:solidFill>
                  <a:srgbClr val="00776F"/>
                </a:solidFill>
                <a:latin typeface="Wingdings"/>
                <a:cs typeface="Wingdings"/>
              </a:rPr>
              <a:t></a:t>
            </a:r>
            <a:endParaRPr sz="1920">
              <a:latin typeface="Wingdings"/>
              <a:cs typeface="Wingdings"/>
            </a:endParaRPr>
          </a:p>
          <a:p>
            <a:pPr>
              <a:spcBef>
                <a:spcPts val="8"/>
              </a:spcBef>
            </a:pPr>
            <a:r>
              <a:rPr sz="1920" dirty="0">
                <a:solidFill>
                  <a:srgbClr val="00776F"/>
                </a:solidFill>
                <a:latin typeface="Wingdings"/>
                <a:cs typeface="Wingdings"/>
              </a:rPr>
              <a:t></a:t>
            </a:r>
            <a:endParaRPr sz="1920">
              <a:latin typeface="Wingdings"/>
              <a:cs typeface="Wingdings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4881270" y="7618375"/>
            <a:ext cx="7049008" cy="575542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20320">
              <a:lnSpc>
                <a:spcPts val="1816"/>
              </a:lnSpc>
              <a:spcBef>
                <a:spcPts val="160"/>
              </a:spcBef>
            </a:pPr>
            <a:r>
              <a:rPr sz="720" dirty="0">
                <a:solidFill>
                  <a:srgbClr val="7E7E7E"/>
                </a:solidFill>
              </a:rPr>
              <a:t>© </a:t>
            </a:r>
            <a:r>
              <a:rPr sz="720" spc="-8" dirty="0">
                <a:solidFill>
                  <a:srgbClr val="7E7E7E"/>
                </a:solidFill>
              </a:rPr>
              <a:t>2016 Care</a:t>
            </a:r>
            <a:r>
              <a:rPr sz="720" dirty="0">
                <a:solidFill>
                  <a:srgbClr val="7E7E7E"/>
                </a:solidFill>
              </a:rPr>
              <a:t>Fus</a:t>
            </a:r>
            <a:r>
              <a:rPr sz="720" spc="-8" dirty="0">
                <a:solidFill>
                  <a:srgbClr val="7E7E7E"/>
                </a:solidFill>
              </a:rPr>
              <a:t>ion</a:t>
            </a:r>
            <a:r>
              <a:rPr sz="720" spc="-32" dirty="0">
                <a:solidFill>
                  <a:srgbClr val="7E7E7E"/>
                </a:solidFill>
              </a:rPr>
              <a:t> </a:t>
            </a:r>
            <a:r>
              <a:rPr sz="720" spc="-8" dirty="0">
                <a:solidFill>
                  <a:srgbClr val="7E7E7E"/>
                </a:solidFill>
              </a:rPr>
              <a:t>Corpora</a:t>
            </a:r>
            <a:r>
              <a:rPr sz="720" dirty="0">
                <a:solidFill>
                  <a:srgbClr val="7E7E7E"/>
                </a:solidFill>
              </a:rPr>
              <a:t>ti</a:t>
            </a:r>
            <a:r>
              <a:rPr sz="720" spc="-8" dirty="0">
                <a:solidFill>
                  <a:srgbClr val="7E7E7E"/>
                </a:solidFill>
              </a:rPr>
              <a:t>on</a:t>
            </a:r>
            <a:r>
              <a:rPr sz="720" spc="-32" dirty="0">
                <a:solidFill>
                  <a:srgbClr val="7E7E7E"/>
                </a:solidFill>
              </a:rPr>
              <a:t> </a:t>
            </a:r>
            <a:r>
              <a:rPr sz="720" spc="-8" dirty="0">
                <a:solidFill>
                  <a:srgbClr val="7E7E7E"/>
                </a:solidFill>
              </a:rPr>
              <a:t>o</a:t>
            </a:r>
            <a:r>
              <a:rPr sz="720" dirty="0">
                <a:solidFill>
                  <a:srgbClr val="7E7E7E"/>
                </a:solidFill>
              </a:rPr>
              <a:t>r </a:t>
            </a:r>
            <a:r>
              <a:rPr sz="720" spc="-8" dirty="0">
                <a:solidFill>
                  <a:srgbClr val="7E7E7E"/>
                </a:solidFill>
              </a:rPr>
              <a:t>one o</a:t>
            </a:r>
            <a:r>
              <a:rPr sz="720" dirty="0">
                <a:solidFill>
                  <a:srgbClr val="7E7E7E"/>
                </a:solidFill>
              </a:rPr>
              <a:t>f</a:t>
            </a:r>
            <a:r>
              <a:rPr sz="720" spc="-8" dirty="0">
                <a:solidFill>
                  <a:srgbClr val="7E7E7E"/>
                </a:solidFill>
              </a:rPr>
              <a:t> i</a:t>
            </a:r>
            <a:r>
              <a:rPr sz="720" dirty="0">
                <a:solidFill>
                  <a:srgbClr val="7E7E7E"/>
                </a:solidFill>
              </a:rPr>
              <a:t>ts</a:t>
            </a:r>
            <a:r>
              <a:rPr sz="720" spc="-8" dirty="0">
                <a:solidFill>
                  <a:srgbClr val="7E7E7E"/>
                </a:solidFill>
              </a:rPr>
              <a:t> a</a:t>
            </a:r>
            <a:r>
              <a:rPr sz="720" dirty="0">
                <a:solidFill>
                  <a:srgbClr val="7E7E7E"/>
                </a:solidFill>
              </a:rPr>
              <a:t>ff</a:t>
            </a:r>
            <a:r>
              <a:rPr sz="720" spc="-8" dirty="0">
                <a:solidFill>
                  <a:srgbClr val="7E7E7E"/>
                </a:solidFill>
              </a:rPr>
              <a:t>ilia</a:t>
            </a:r>
            <a:r>
              <a:rPr sz="720" dirty="0">
                <a:solidFill>
                  <a:srgbClr val="7E7E7E"/>
                </a:solidFill>
              </a:rPr>
              <a:t>tes.</a:t>
            </a:r>
            <a:r>
              <a:rPr sz="720" spc="-32" dirty="0">
                <a:solidFill>
                  <a:srgbClr val="7E7E7E"/>
                </a:solidFill>
              </a:rPr>
              <a:t> </a:t>
            </a:r>
            <a:r>
              <a:rPr sz="720" dirty="0">
                <a:solidFill>
                  <a:srgbClr val="7E7E7E"/>
                </a:solidFill>
              </a:rPr>
              <a:t>Al</a:t>
            </a:r>
            <a:r>
              <a:rPr sz="720" spc="-8" dirty="0">
                <a:solidFill>
                  <a:srgbClr val="7E7E7E"/>
                </a:solidFill>
              </a:rPr>
              <a:t>l righ</a:t>
            </a:r>
            <a:r>
              <a:rPr sz="720" dirty="0">
                <a:solidFill>
                  <a:srgbClr val="7E7E7E"/>
                </a:solidFill>
              </a:rPr>
              <a:t>ts</a:t>
            </a:r>
            <a:r>
              <a:rPr sz="720" spc="-16" dirty="0">
                <a:solidFill>
                  <a:srgbClr val="7E7E7E"/>
                </a:solidFill>
              </a:rPr>
              <a:t> </a:t>
            </a:r>
            <a:r>
              <a:rPr sz="720" dirty="0">
                <a:solidFill>
                  <a:srgbClr val="7E7E7E"/>
                </a:solidFill>
              </a:rPr>
              <a:t>res</a:t>
            </a:r>
            <a:r>
              <a:rPr sz="720" spc="-8" dirty="0">
                <a:solidFill>
                  <a:srgbClr val="7E7E7E"/>
                </a:solidFill>
              </a:rPr>
              <a:t>e</a:t>
            </a:r>
            <a:r>
              <a:rPr sz="720" dirty="0">
                <a:solidFill>
                  <a:srgbClr val="7E7E7E"/>
                </a:solidFill>
              </a:rPr>
              <a:t>r</a:t>
            </a:r>
            <a:r>
              <a:rPr sz="720" spc="-8" dirty="0">
                <a:solidFill>
                  <a:srgbClr val="7E7E7E"/>
                </a:solidFill>
              </a:rPr>
              <a:t>ved</a:t>
            </a:r>
            <a:r>
              <a:rPr sz="720" dirty="0">
                <a:solidFill>
                  <a:srgbClr val="7E7E7E"/>
                </a:solidFill>
              </a:rPr>
              <a:t>.</a:t>
            </a:r>
            <a:r>
              <a:rPr sz="720" spc="-24" dirty="0">
                <a:solidFill>
                  <a:srgbClr val="7E7E7E"/>
                </a:solidFill>
              </a:rPr>
              <a:t> </a:t>
            </a:r>
            <a:r>
              <a:rPr sz="720" dirty="0">
                <a:solidFill>
                  <a:srgbClr val="7E7E7E"/>
                </a:solidFill>
              </a:rPr>
              <a:t>Vita</a:t>
            </a:r>
            <a:r>
              <a:rPr sz="720" spc="-8" dirty="0">
                <a:solidFill>
                  <a:srgbClr val="7E7E7E"/>
                </a:solidFill>
              </a:rPr>
              <a:t>l </a:t>
            </a:r>
            <a:r>
              <a:rPr sz="720" dirty="0">
                <a:solidFill>
                  <a:srgbClr val="7E7E7E"/>
                </a:solidFill>
              </a:rPr>
              <a:t>Signs,</a:t>
            </a:r>
            <a:r>
              <a:rPr sz="720" spc="-24" dirty="0">
                <a:solidFill>
                  <a:srgbClr val="7E7E7E"/>
                </a:solidFill>
              </a:rPr>
              <a:t> </a:t>
            </a:r>
            <a:r>
              <a:rPr sz="720" spc="-8" dirty="0">
                <a:solidFill>
                  <a:srgbClr val="7E7E7E"/>
                </a:solidFill>
              </a:rPr>
              <a:t>Ca</a:t>
            </a:r>
            <a:r>
              <a:rPr sz="720" spc="-136" dirty="0">
                <a:solidFill>
                  <a:srgbClr val="7E7E7E"/>
                </a:solidFill>
              </a:rPr>
              <a:t>r</a:t>
            </a:r>
            <a:r>
              <a:rPr sz="1600" b="1" spc="-1032" dirty="0">
                <a:solidFill>
                  <a:srgbClr val="F1F1F1"/>
                </a:solidFill>
              </a:rPr>
              <a:t>C</a:t>
            </a:r>
            <a:r>
              <a:rPr sz="720" spc="-8" dirty="0">
                <a:solidFill>
                  <a:srgbClr val="7E7E7E"/>
                </a:solidFill>
              </a:rPr>
              <a:t>e</a:t>
            </a:r>
            <a:r>
              <a:rPr sz="720" dirty="0">
                <a:solidFill>
                  <a:srgbClr val="7E7E7E"/>
                </a:solidFill>
              </a:rPr>
              <a:t>F</a:t>
            </a:r>
            <a:r>
              <a:rPr sz="720" spc="-232" dirty="0">
                <a:solidFill>
                  <a:srgbClr val="7E7E7E"/>
                </a:solidFill>
              </a:rPr>
              <a:t>u</a:t>
            </a:r>
            <a:r>
              <a:rPr sz="1600" b="1" spc="-1032" dirty="0">
                <a:solidFill>
                  <a:srgbClr val="F1F1F1"/>
                </a:solidFill>
              </a:rPr>
              <a:t>O</a:t>
            </a:r>
            <a:r>
              <a:rPr sz="720" dirty="0">
                <a:solidFill>
                  <a:srgbClr val="7E7E7E"/>
                </a:solidFill>
              </a:rPr>
              <a:t>s</a:t>
            </a:r>
            <a:r>
              <a:rPr sz="720" spc="-8" dirty="0">
                <a:solidFill>
                  <a:srgbClr val="7E7E7E"/>
                </a:solidFill>
              </a:rPr>
              <a:t>io</a:t>
            </a:r>
            <a:r>
              <a:rPr sz="720" spc="-312" dirty="0">
                <a:solidFill>
                  <a:srgbClr val="7E7E7E"/>
                </a:solidFill>
              </a:rPr>
              <a:t>n</a:t>
            </a:r>
            <a:r>
              <a:rPr sz="1600" b="1" spc="-680" dirty="0">
                <a:solidFill>
                  <a:srgbClr val="F1F1F1"/>
                </a:solidFill>
              </a:rPr>
              <a:t>N</a:t>
            </a:r>
            <a:r>
              <a:rPr sz="720" spc="-8" dirty="0">
                <a:solidFill>
                  <a:srgbClr val="7E7E7E"/>
                </a:solidFill>
              </a:rPr>
              <a:t>a</a:t>
            </a:r>
            <a:r>
              <a:rPr sz="720" spc="-128" dirty="0">
                <a:solidFill>
                  <a:srgbClr val="7E7E7E"/>
                </a:solidFill>
              </a:rPr>
              <a:t>n</a:t>
            </a:r>
            <a:r>
              <a:rPr sz="1600" b="1" spc="-864" dirty="0">
                <a:solidFill>
                  <a:srgbClr val="F1F1F1"/>
                </a:solidFill>
              </a:rPr>
              <a:t>F</a:t>
            </a:r>
            <a:r>
              <a:rPr sz="720" spc="-8" dirty="0">
                <a:solidFill>
                  <a:srgbClr val="7E7E7E"/>
                </a:solidFill>
              </a:rPr>
              <a:t>d </a:t>
            </a:r>
            <a:r>
              <a:rPr sz="720" dirty="0">
                <a:solidFill>
                  <a:srgbClr val="7E7E7E"/>
                </a:solidFill>
              </a:rPr>
              <a:t>t</a:t>
            </a:r>
            <a:r>
              <a:rPr sz="720" spc="-344" dirty="0">
                <a:solidFill>
                  <a:srgbClr val="7E7E7E"/>
                </a:solidFill>
              </a:rPr>
              <a:t>h</a:t>
            </a:r>
            <a:r>
              <a:rPr sz="1600" b="1" spc="-112" dirty="0">
                <a:solidFill>
                  <a:srgbClr val="F1F1F1"/>
                </a:solidFill>
              </a:rPr>
              <a:t>I</a:t>
            </a:r>
            <a:r>
              <a:rPr sz="720" spc="-304" dirty="0">
                <a:solidFill>
                  <a:srgbClr val="7E7E7E"/>
                </a:solidFill>
              </a:rPr>
              <a:t>e</a:t>
            </a:r>
            <a:r>
              <a:rPr sz="1600" b="1" spc="-672" dirty="0">
                <a:solidFill>
                  <a:srgbClr val="F1F1F1"/>
                </a:solidFill>
              </a:rPr>
              <a:t>D</a:t>
            </a:r>
            <a:r>
              <a:rPr sz="720" spc="-8" dirty="0">
                <a:solidFill>
                  <a:srgbClr val="7E7E7E"/>
                </a:solidFill>
              </a:rPr>
              <a:t>C</a:t>
            </a:r>
            <a:r>
              <a:rPr sz="720" spc="-264" dirty="0">
                <a:solidFill>
                  <a:srgbClr val="7E7E7E"/>
                </a:solidFill>
              </a:rPr>
              <a:t>a</a:t>
            </a:r>
            <a:r>
              <a:rPr sz="1600" b="1" spc="-824" dirty="0">
                <a:solidFill>
                  <a:srgbClr val="F1F1F1"/>
                </a:solidFill>
              </a:rPr>
              <a:t>E</a:t>
            </a:r>
            <a:r>
              <a:rPr sz="720" dirty="0">
                <a:solidFill>
                  <a:srgbClr val="7E7E7E"/>
                </a:solidFill>
              </a:rPr>
              <a:t>re</a:t>
            </a:r>
            <a:r>
              <a:rPr sz="720" spc="-264" dirty="0">
                <a:solidFill>
                  <a:srgbClr val="7E7E7E"/>
                </a:solidFill>
              </a:rPr>
              <a:t>F</a:t>
            </a:r>
            <a:r>
              <a:rPr sz="1600" b="1" spc="-896" dirty="0">
                <a:solidFill>
                  <a:srgbClr val="F1F1F1"/>
                </a:solidFill>
              </a:rPr>
              <a:t>N</a:t>
            </a:r>
            <a:r>
              <a:rPr sz="720" spc="-8" dirty="0">
                <a:solidFill>
                  <a:srgbClr val="7E7E7E"/>
                </a:solidFill>
              </a:rPr>
              <a:t>u</a:t>
            </a:r>
            <a:r>
              <a:rPr sz="720" dirty="0">
                <a:solidFill>
                  <a:srgbClr val="7E7E7E"/>
                </a:solidFill>
              </a:rPr>
              <a:t>s</a:t>
            </a:r>
            <a:r>
              <a:rPr sz="720" spc="-48" dirty="0">
                <a:solidFill>
                  <a:srgbClr val="7E7E7E"/>
                </a:solidFill>
              </a:rPr>
              <a:t>i</a:t>
            </a:r>
            <a:r>
              <a:rPr sz="1600" b="1" spc="-944" dirty="0">
                <a:solidFill>
                  <a:srgbClr val="F1F1F1"/>
                </a:solidFill>
              </a:rPr>
              <a:t>T</a:t>
            </a:r>
            <a:r>
              <a:rPr sz="720" spc="-8" dirty="0">
                <a:solidFill>
                  <a:srgbClr val="7E7E7E"/>
                </a:solidFill>
              </a:rPr>
              <a:t>on</a:t>
            </a:r>
            <a:r>
              <a:rPr sz="720" spc="-64" dirty="0">
                <a:solidFill>
                  <a:srgbClr val="7E7E7E"/>
                </a:solidFill>
              </a:rPr>
              <a:t> </a:t>
            </a:r>
            <a:r>
              <a:rPr sz="1600" b="1" spc="-406" dirty="0">
                <a:solidFill>
                  <a:srgbClr val="F1F1F1"/>
                </a:solidFill>
              </a:rPr>
              <a:t>I</a:t>
            </a:r>
            <a:r>
              <a:rPr sz="720" spc="-8" dirty="0">
                <a:solidFill>
                  <a:srgbClr val="7E7E7E"/>
                </a:solidFill>
              </a:rPr>
              <a:t>l</a:t>
            </a:r>
            <a:r>
              <a:rPr sz="720" spc="-176" dirty="0">
                <a:solidFill>
                  <a:srgbClr val="7E7E7E"/>
                </a:solidFill>
              </a:rPr>
              <a:t>o</a:t>
            </a:r>
            <a:r>
              <a:rPr sz="1600" b="1" spc="-1000" dirty="0">
                <a:solidFill>
                  <a:srgbClr val="F1F1F1"/>
                </a:solidFill>
              </a:rPr>
              <a:t>A</a:t>
            </a:r>
            <a:r>
              <a:rPr sz="720" spc="-8" dirty="0">
                <a:solidFill>
                  <a:srgbClr val="7E7E7E"/>
                </a:solidFill>
              </a:rPr>
              <a:t>go</a:t>
            </a:r>
            <a:r>
              <a:rPr sz="720" spc="-16" dirty="0">
                <a:solidFill>
                  <a:srgbClr val="7E7E7E"/>
                </a:solidFill>
              </a:rPr>
              <a:t> </a:t>
            </a:r>
            <a:r>
              <a:rPr sz="1600" b="1" spc="-936" dirty="0">
                <a:solidFill>
                  <a:srgbClr val="F1F1F1"/>
                </a:solidFill>
              </a:rPr>
              <a:t>L</a:t>
            </a:r>
            <a:r>
              <a:rPr sz="720" spc="-8" dirty="0">
                <a:solidFill>
                  <a:srgbClr val="7E7E7E"/>
                </a:solidFill>
              </a:rPr>
              <a:t>are</a:t>
            </a:r>
            <a:r>
              <a:rPr sz="720" dirty="0">
                <a:solidFill>
                  <a:srgbClr val="7E7E7E"/>
                </a:solidFill>
              </a:rPr>
              <a:t> </a:t>
            </a:r>
            <a:r>
              <a:rPr sz="720" spc="-88" dirty="0">
                <a:solidFill>
                  <a:srgbClr val="7E7E7E"/>
                </a:solidFill>
              </a:rPr>
              <a:t> </a:t>
            </a:r>
            <a:r>
              <a:rPr sz="1600" b="1" dirty="0">
                <a:solidFill>
                  <a:srgbClr val="F1F1F1"/>
                </a:solidFill>
              </a:rPr>
              <a:t>–</a:t>
            </a:r>
            <a:r>
              <a:rPr sz="1600" b="1" spc="-24" dirty="0">
                <a:solidFill>
                  <a:srgbClr val="F1F1F1"/>
                </a:solidFill>
              </a:rPr>
              <a:t> </a:t>
            </a:r>
            <a:r>
              <a:rPr sz="1600" b="1" dirty="0">
                <a:solidFill>
                  <a:srgbClr val="F1F1F1"/>
                </a:solidFill>
              </a:rPr>
              <a:t>Internal</a:t>
            </a:r>
            <a:r>
              <a:rPr sz="1600" b="1" spc="-40" dirty="0">
                <a:solidFill>
                  <a:srgbClr val="F1F1F1"/>
                </a:solidFill>
              </a:rPr>
              <a:t> </a:t>
            </a:r>
            <a:r>
              <a:rPr sz="1600" b="1" dirty="0">
                <a:solidFill>
                  <a:srgbClr val="F1F1F1"/>
                </a:solidFill>
              </a:rPr>
              <a:t>Use</a:t>
            </a:r>
            <a:r>
              <a:rPr sz="1600" b="1" spc="-32" dirty="0">
                <a:solidFill>
                  <a:srgbClr val="F1F1F1"/>
                </a:solidFill>
              </a:rPr>
              <a:t> </a:t>
            </a:r>
            <a:r>
              <a:rPr sz="1600" b="1" dirty="0">
                <a:solidFill>
                  <a:srgbClr val="F1F1F1"/>
                </a:solidFill>
              </a:rPr>
              <a:t>Only</a:t>
            </a:r>
            <a:endParaRPr sz="1600"/>
          </a:p>
          <a:p>
            <a:pPr marL="20320">
              <a:lnSpc>
                <a:spcPts val="760"/>
              </a:lnSpc>
            </a:pPr>
            <a:r>
              <a:rPr sz="720" dirty="0">
                <a:solidFill>
                  <a:srgbClr val="7E7E7E"/>
                </a:solidFill>
              </a:rPr>
              <a:t>trademarks</a:t>
            </a:r>
            <a:r>
              <a:rPr sz="720" spc="-24" dirty="0">
                <a:solidFill>
                  <a:srgbClr val="7E7E7E"/>
                </a:solidFill>
              </a:rPr>
              <a:t> </a:t>
            </a:r>
            <a:r>
              <a:rPr sz="720" dirty="0">
                <a:solidFill>
                  <a:srgbClr val="7E7E7E"/>
                </a:solidFill>
              </a:rPr>
              <a:t>or</a:t>
            </a:r>
            <a:r>
              <a:rPr sz="720" spc="-8" dirty="0">
                <a:solidFill>
                  <a:srgbClr val="7E7E7E"/>
                </a:solidFill>
              </a:rPr>
              <a:t> </a:t>
            </a:r>
            <a:r>
              <a:rPr sz="720" dirty="0">
                <a:solidFill>
                  <a:srgbClr val="7E7E7E"/>
                </a:solidFill>
              </a:rPr>
              <a:t>registered</a:t>
            </a:r>
            <a:r>
              <a:rPr sz="720" spc="-16" dirty="0">
                <a:solidFill>
                  <a:srgbClr val="7E7E7E"/>
                </a:solidFill>
              </a:rPr>
              <a:t> </a:t>
            </a:r>
            <a:r>
              <a:rPr sz="720" dirty="0">
                <a:solidFill>
                  <a:srgbClr val="7E7E7E"/>
                </a:solidFill>
              </a:rPr>
              <a:t>trademarks</a:t>
            </a:r>
            <a:r>
              <a:rPr sz="720" spc="-40" dirty="0">
                <a:solidFill>
                  <a:srgbClr val="7E7E7E"/>
                </a:solidFill>
              </a:rPr>
              <a:t> </a:t>
            </a:r>
            <a:r>
              <a:rPr sz="720" dirty="0">
                <a:solidFill>
                  <a:srgbClr val="7E7E7E"/>
                </a:solidFill>
              </a:rPr>
              <a:t>of CareFusion</a:t>
            </a:r>
            <a:r>
              <a:rPr sz="720" spc="-32" dirty="0">
                <a:solidFill>
                  <a:srgbClr val="7E7E7E"/>
                </a:solidFill>
              </a:rPr>
              <a:t> </a:t>
            </a:r>
            <a:r>
              <a:rPr sz="720" dirty="0">
                <a:solidFill>
                  <a:srgbClr val="7E7E7E"/>
                </a:solidFill>
              </a:rPr>
              <a:t>Corporation</a:t>
            </a:r>
            <a:r>
              <a:rPr sz="720" spc="-16" dirty="0">
                <a:solidFill>
                  <a:srgbClr val="7E7E7E"/>
                </a:solidFill>
              </a:rPr>
              <a:t> </a:t>
            </a:r>
            <a:r>
              <a:rPr sz="720" dirty="0">
                <a:solidFill>
                  <a:srgbClr val="7E7E7E"/>
                </a:solidFill>
              </a:rPr>
              <a:t>or</a:t>
            </a:r>
            <a:r>
              <a:rPr sz="720" spc="-8" dirty="0">
                <a:solidFill>
                  <a:srgbClr val="7E7E7E"/>
                </a:solidFill>
              </a:rPr>
              <a:t> one </a:t>
            </a:r>
            <a:r>
              <a:rPr sz="720" dirty="0">
                <a:solidFill>
                  <a:srgbClr val="7E7E7E"/>
                </a:solidFill>
              </a:rPr>
              <a:t>of</a:t>
            </a:r>
            <a:r>
              <a:rPr sz="720" spc="-8" dirty="0">
                <a:solidFill>
                  <a:srgbClr val="7E7E7E"/>
                </a:solidFill>
              </a:rPr>
              <a:t> </a:t>
            </a:r>
            <a:r>
              <a:rPr sz="720" dirty="0">
                <a:solidFill>
                  <a:srgbClr val="7E7E7E"/>
                </a:solidFill>
              </a:rPr>
              <a:t>its</a:t>
            </a:r>
            <a:r>
              <a:rPr sz="720" spc="-8" dirty="0">
                <a:solidFill>
                  <a:srgbClr val="7E7E7E"/>
                </a:solidFill>
              </a:rPr>
              <a:t> </a:t>
            </a:r>
            <a:r>
              <a:rPr sz="720" dirty="0">
                <a:solidFill>
                  <a:srgbClr val="7E7E7E"/>
                </a:solidFill>
              </a:rPr>
              <a:t>affiliates.</a:t>
            </a:r>
            <a:r>
              <a:rPr sz="720" spc="-32" dirty="0">
                <a:solidFill>
                  <a:srgbClr val="7E7E7E"/>
                </a:solidFill>
              </a:rPr>
              <a:t> </a:t>
            </a:r>
            <a:r>
              <a:rPr sz="720" spc="-8" dirty="0">
                <a:solidFill>
                  <a:srgbClr val="7E7E7E"/>
                </a:solidFill>
              </a:rPr>
              <a:t>Medical devices</a:t>
            </a:r>
            <a:r>
              <a:rPr sz="720" spc="-16" dirty="0">
                <a:solidFill>
                  <a:srgbClr val="7E7E7E"/>
                </a:solidFill>
              </a:rPr>
              <a:t> </a:t>
            </a:r>
            <a:r>
              <a:rPr sz="720" dirty="0">
                <a:solidFill>
                  <a:srgbClr val="7E7E7E"/>
                </a:solidFill>
              </a:rPr>
              <a:t>class</a:t>
            </a:r>
            <a:r>
              <a:rPr sz="720" spc="-16" dirty="0">
                <a:solidFill>
                  <a:srgbClr val="7E7E7E"/>
                </a:solidFill>
              </a:rPr>
              <a:t> </a:t>
            </a:r>
            <a:r>
              <a:rPr sz="720" dirty="0">
                <a:solidFill>
                  <a:srgbClr val="7E7E7E"/>
                </a:solidFill>
              </a:rPr>
              <a:t>I</a:t>
            </a:r>
            <a:r>
              <a:rPr sz="720" spc="-8" dirty="0">
                <a:solidFill>
                  <a:srgbClr val="7E7E7E"/>
                </a:solidFill>
              </a:rPr>
              <a:t> according</a:t>
            </a:r>
            <a:r>
              <a:rPr sz="720" spc="-32" dirty="0">
                <a:solidFill>
                  <a:srgbClr val="7E7E7E"/>
                </a:solidFill>
              </a:rPr>
              <a:t> </a:t>
            </a:r>
            <a:r>
              <a:rPr sz="720" dirty="0">
                <a:solidFill>
                  <a:srgbClr val="7E7E7E"/>
                </a:solidFill>
              </a:rPr>
              <a:t>to</a:t>
            </a:r>
            <a:endParaRPr sz="720"/>
          </a:p>
          <a:p>
            <a:pPr marL="20320" marR="2016760"/>
            <a:r>
              <a:rPr sz="720" spc="-8" dirty="0">
                <a:solidFill>
                  <a:srgbClr val="7E7E7E"/>
                </a:solidFill>
              </a:rPr>
              <a:t>Medical Devices Directive </a:t>
            </a:r>
            <a:r>
              <a:rPr sz="720" dirty="0">
                <a:solidFill>
                  <a:srgbClr val="7E7E7E"/>
                </a:solidFill>
              </a:rPr>
              <a:t>93/42/EC. Please read the complete Instructions For Use that come </a:t>
            </a:r>
            <a:r>
              <a:rPr sz="720" spc="-8" dirty="0">
                <a:solidFill>
                  <a:srgbClr val="7E7E7E"/>
                </a:solidFill>
              </a:rPr>
              <a:t>with </a:t>
            </a:r>
            <a:r>
              <a:rPr sz="720" dirty="0">
                <a:solidFill>
                  <a:srgbClr val="7E7E7E"/>
                </a:solidFill>
              </a:rPr>
              <a:t>the </a:t>
            </a:r>
            <a:r>
              <a:rPr sz="720" spc="-8" dirty="0">
                <a:solidFill>
                  <a:srgbClr val="7E7E7E"/>
                </a:solidFill>
              </a:rPr>
              <a:t>devices </a:t>
            </a:r>
            <a:r>
              <a:rPr sz="720" dirty="0">
                <a:solidFill>
                  <a:srgbClr val="7E7E7E"/>
                </a:solidFill>
              </a:rPr>
              <a:t>or follow the  instructions </a:t>
            </a:r>
            <a:r>
              <a:rPr sz="720" spc="-8" dirty="0">
                <a:solidFill>
                  <a:srgbClr val="7E7E7E"/>
                </a:solidFill>
              </a:rPr>
              <a:t>on </a:t>
            </a:r>
            <a:r>
              <a:rPr sz="720" dirty="0">
                <a:solidFill>
                  <a:srgbClr val="7E7E7E"/>
                </a:solidFill>
              </a:rPr>
              <a:t>the product </a:t>
            </a:r>
            <a:r>
              <a:rPr sz="720" spc="-8" dirty="0">
                <a:solidFill>
                  <a:srgbClr val="7E7E7E"/>
                </a:solidFill>
              </a:rPr>
              <a:t>labeling. 0000MS07315 </a:t>
            </a:r>
            <a:r>
              <a:rPr sz="720" dirty="0">
                <a:solidFill>
                  <a:srgbClr val="7E7E7E"/>
                </a:solidFill>
              </a:rPr>
              <a:t>Issue</a:t>
            </a:r>
            <a:r>
              <a:rPr sz="720" spc="-104" dirty="0">
                <a:solidFill>
                  <a:srgbClr val="7E7E7E"/>
                </a:solidFill>
              </a:rPr>
              <a:t> </a:t>
            </a:r>
            <a:r>
              <a:rPr sz="720" spc="-8" dirty="0">
                <a:solidFill>
                  <a:srgbClr val="7E7E7E"/>
                </a:solidFill>
              </a:rPr>
              <a:t>1</a:t>
            </a:r>
            <a:endParaRPr sz="720"/>
          </a:p>
        </p:txBody>
      </p:sp>
    </p:spTree>
    <p:extLst>
      <p:ext uri="{BB962C8B-B14F-4D97-AF65-F5344CB8AC3E}">
        <p14:creationId xmlns:p14="http://schemas.microsoft.com/office/powerpoint/2010/main" val="371344698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7587" name="Picture 1027" descr="C:\Documents and Settings\Karpfj\Desktop\GE_GETag.GI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2245995" y="7307579"/>
            <a:ext cx="2011680" cy="571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07589" name="Object 1029"/>
          <p:cNvGraphicFramePr>
            <a:graphicFrameLocks noChangeAspect="1"/>
          </p:cNvGraphicFramePr>
          <p:nvPr/>
        </p:nvGraphicFramePr>
        <p:xfrm>
          <a:off x="1" y="-396240"/>
          <a:ext cx="14642011" cy="86258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Image" r:id="rId4" imgW="3657607" imgH="3685039" progId="Photoshop.Image.6">
                  <p:embed/>
                </p:oleObj>
              </mc:Choice>
              <mc:Fallback>
                <p:oleObj name="Image" r:id="rId4" imgW="3657607" imgH="3685039" progId="Photoshop.Image.6">
                  <p:embed/>
                  <p:pic>
                    <p:nvPicPr>
                      <p:cNvPr id="707589" name="Object 10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-396240"/>
                        <a:ext cx="14642011" cy="862584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026"/>
          <p:cNvSpPr>
            <a:spLocks noGrp="1" noChangeArrowheads="1"/>
          </p:cNvSpPr>
          <p:nvPr>
            <p:ph type="title"/>
          </p:nvPr>
        </p:nvSpPr>
        <p:spPr>
          <a:xfrm>
            <a:off x="7559041" y="944881"/>
            <a:ext cx="10740338" cy="724408"/>
          </a:xfrm>
        </p:spPr>
        <p:txBody>
          <a:bodyPr/>
          <a:lstStyle/>
          <a:p>
            <a:r>
              <a:rPr lang="en-US" altLang="en-US" sz="3840" dirty="0"/>
              <a:t>ECG Recording Paper</a:t>
            </a:r>
          </a:p>
        </p:txBody>
      </p:sp>
    </p:spTree>
    <p:extLst>
      <p:ext uri="{BB962C8B-B14F-4D97-AF65-F5344CB8AC3E}">
        <p14:creationId xmlns:p14="http://schemas.microsoft.com/office/powerpoint/2010/main" val="2116831707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73940" y="7916264"/>
            <a:ext cx="275336" cy="168251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20320">
              <a:spcBef>
                <a:spcPts val="160"/>
              </a:spcBef>
            </a:pPr>
            <a:r>
              <a:rPr sz="960" dirty="0">
                <a:solidFill>
                  <a:srgbClr val="0C1524"/>
                </a:solidFill>
                <a:latin typeface="Verdana"/>
                <a:cs typeface="Verdana"/>
              </a:rPr>
              <a:t>269</a:t>
            </a:r>
            <a:endParaRPr sz="960">
              <a:latin typeface="Verdana"/>
              <a:cs typeface="Verdana"/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2366466" y="126495"/>
            <a:ext cx="6597904" cy="1155188"/>
          </a:xfrm>
          <a:prstGeom prst="rect">
            <a:avLst/>
          </a:prstGeom>
        </p:spPr>
        <p:txBody>
          <a:bodyPr spcFirstLastPara="1" vert="horz" wrap="square" lIns="0" tIns="21336" rIns="0" bIns="0" rtlCol="0" anchor="ctr" anchorCtr="0">
            <a:spAutoFit/>
          </a:bodyPr>
          <a:lstStyle/>
          <a:p>
            <a:pPr marL="20320" marR="8128">
              <a:lnSpc>
                <a:spcPct val="100000"/>
              </a:lnSpc>
              <a:spcBef>
                <a:spcPts val="168"/>
              </a:spcBef>
            </a:pPr>
            <a:r>
              <a:rPr u="none" dirty="0"/>
              <a:t>Our paper portfolio is</a:t>
            </a:r>
            <a:r>
              <a:rPr spc="-88" dirty="0"/>
              <a:t> </a:t>
            </a:r>
            <a:r>
              <a:rPr u="none" dirty="0"/>
              <a:t>very  complex </a:t>
            </a:r>
            <a:r>
              <a:rPr lang="en-GB" u="none" dirty="0"/>
              <a:t>but </a:t>
            </a:r>
            <a:r>
              <a:rPr spc="-8" dirty="0"/>
              <a:t>complete</a:t>
            </a:r>
            <a:r>
              <a:rPr spc="-64" dirty="0"/>
              <a:t> </a:t>
            </a:r>
            <a:r>
              <a:rPr u="none" dirty="0"/>
              <a:t>…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2366466" y="1650276"/>
            <a:ext cx="5057648" cy="5386090"/>
          </a:xfrm>
          <a:prstGeom prst="rect">
            <a:avLst/>
          </a:prstGeom>
        </p:spPr>
        <p:txBody>
          <a:bodyPr vert="horz" wrap="square" lIns="0" tIns="138176" rIns="0" bIns="0" rtlCol="0">
            <a:spAutoFit/>
          </a:bodyPr>
          <a:lstStyle/>
          <a:p>
            <a:pPr marL="576072" indent="-556768">
              <a:spcBef>
                <a:spcPts val="1088"/>
              </a:spcBef>
              <a:buClr>
                <a:srgbClr val="71B0D3"/>
              </a:buClr>
              <a:buChar char="•"/>
              <a:tabLst>
                <a:tab pos="576072" algn="l"/>
                <a:tab pos="577088" algn="l"/>
              </a:tabLst>
            </a:pPr>
            <a:r>
              <a:rPr sz="1920" spc="-8" dirty="0">
                <a:solidFill>
                  <a:srgbClr val="517AC6"/>
                </a:solidFill>
              </a:rPr>
              <a:t>30+ individual </a:t>
            </a:r>
            <a:r>
              <a:rPr sz="1920" dirty="0">
                <a:solidFill>
                  <a:srgbClr val="517AC6"/>
                </a:solidFill>
              </a:rPr>
              <a:t>product</a:t>
            </a:r>
            <a:r>
              <a:rPr sz="1920" spc="-64" dirty="0">
                <a:solidFill>
                  <a:srgbClr val="517AC6"/>
                </a:solidFill>
              </a:rPr>
              <a:t> </a:t>
            </a:r>
            <a:r>
              <a:rPr sz="1920" spc="-8" dirty="0">
                <a:solidFill>
                  <a:srgbClr val="517AC6"/>
                </a:solidFill>
              </a:rPr>
              <a:t>offerings</a:t>
            </a:r>
            <a:endParaRPr sz="1920" dirty="0"/>
          </a:p>
          <a:p>
            <a:pPr marL="1209040" lvl="1" indent="-457200">
              <a:spcBef>
                <a:spcPts val="920"/>
              </a:spcBef>
              <a:buClr>
                <a:srgbClr val="71B0D3"/>
              </a:buClr>
              <a:buChar char="•"/>
              <a:tabLst>
                <a:tab pos="1208024" algn="l"/>
                <a:tab pos="1209040" algn="l"/>
              </a:tabLst>
            </a:pPr>
            <a:r>
              <a:rPr sz="1920" dirty="0">
                <a:solidFill>
                  <a:srgbClr val="517AC6"/>
                </a:solidFill>
              </a:rPr>
              <a:t>Letter </a:t>
            </a:r>
            <a:r>
              <a:rPr sz="1920" spc="-8" dirty="0">
                <a:solidFill>
                  <a:srgbClr val="517AC6"/>
                </a:solidFill>
              </a:rPr>
              <a:t>and A4</a:t>
            </a:r>
            <a:r>
              <a:rPr sz="1920" spc="-144" dirty="0">
                <a:solidFill>
                  <a:srgbClr val="517AC6"/>
                </a:solidFill>
              </a:rPr>
              <a:t> </a:t>
            </a:r>
            <a:r>
              <a:rPr sz="1920" dirty="0">
                <a:solidFill>
                  <a:srgbClr val="517AC6"/>
                </a:solidFill>
              </a:rPr>
              <a:t>format</a:t>
            </a:r>
            <a:endParaRPr sz="1920" dirty="0"/>
          </a:p>
          <a:p>
            <a:pPr marL="1209040" lvl="1" indent="-457200">
              <a:spcBef>
                <a:spcPts val="928"/>
              </a:spcBef>
              <a:buClr>
                <a:srgbClr val="71B0D3"/>
              </a:buClr>
              <a:buChar char="•"/>
              <a:tabLst>
                <a:tab pos="1208024" algn="l"/>
                <a:tab pos="1209040" algn="l"/>
              </a:tabLst>
            </a:pPr>
            <a:r>
              <a:rPr sz="1920" spc="-8" dirty="0">
                <a:solidFill>
                  <a:srgbClr val="517AC6"/>
                </a:solidFill>
              </a:rPr>
              <a:t>Red grids, blank interpretation area</a:t>
            </a:r>
            <a:endParaRPr sz="1920" dirty="0"/>
          </a:p>
          <a:p>
            <a:pPr marL="1209040" lvl="1" indent="-457200">
              <a:spcBef>
                <a:spcPts val="920"/>
              </a:spcBef>
              <a:buClr>
                <a:srgbClr val="71B0D3"/>
              </a:buClr>
              <a:buChar char="•"/>
              <a:tabLst>
                <a:tab pos="1208024" algn="l"/>
                <a:tab pos="1209040" algn="l"/>
              </a:tabLst>
            </a:pPr>
            <a:r>
              <a:rPr sz="1920" spc="-8" dirty="0">
                <a:solidFill>
                  <a:srgbClr val="517AC6"/>
                </a:solidFill>
              </a:rPr>
              <a:t>Guide</a:t>
            </a:r>
            <a:r>
              <a:rPr sz="1920" spc="-24" dirty="0">
                <a:solidFill>
                  <a:srgbClr val="517AC6"/>
                </a:solidFill>
              </a:rPr>
              <a:t> </a:t>
            </a:r>
            <a:r>
              <a:rPr sz="1920" spc="-8" dirty="0">
                <a:solidFill>
                  <a:srgbClr val="517AC6"/>
                </a:solidFill>
              </a:rPr>
              <a:t>holes</a:t>
            </a:r>
            <a:endParaRPr sz="1920" dirty="0"/>
          </a:p>
          <a:p>
            <a:pPr marL="1209040" lvl="1" indent="-457200">
              <a:spcBef>
                <a:spcPts val="920"/>
              </a:spcBef>
              <a:buClr>
                <a:srgbClr val="71B0D3"/>
              </a:buClr>
              <a:buChar char="•"/>
              <a:tabLst>
                <a:tab pos="1208024" algn="l"/>
                <a:tab pos="1209040" algn="l"/>
              </a:tabLst>
            </a:pPr>
            <a:r>
              <a:rPr sz="1920" spc="-8" dirty="0">
                <a:solidFill>
                  <a:srgbClr val="517AC6"/>
                </a:solidFill>
              </a:rPr>
              <a:t>Z-fold, </a:t>
            </a:r>
            <a:r>
              <a:rPr sz="1920" dirty="0">
                <a:solidFill>
                  <a:srgbClr val="517AC6"/>
                </a:solidFill>
              </a:rPr>
              <a:t>sheet, </a:t>
            </a:r>
            <a:r>
              <a:rPr sz="1920" spc="-8" dirty="0">
                <a:solidFill>
                  <a:srgbClr val="517AC6"/>
                </a:solidFill>
              </a:rPr>
              <a:t>roll</a:t>
            </a:r>
            <a:endParaRPr sz="1920" dirty="0"/>
          </a:p>
          <a:p>
            <a:pPr lvl="1">
              <a:lnSpc>
                <a:spcPct val="100000"/>
              </a:lnSpc>
              <a:buChar char="•"/>
            </a:pPr>
            <a:endParaRPr sz="2080" dirty="0"/>
          </a:p>
          <a:p>
            <a:pPr marL="576072" indent="-556768">
              <a:spcBef>
                <a:spcPts val="1416"/>
              </a:spcBef>
              <a:buClr>
                <a:srgbClr val="71B0D3"/>
              </a:buClr>
              <a:buChar char="•"/>
              <a:tabLst>
                <a:tab pos="576072" algn="l"/>
                <a:tab pos="577088" algn="l"/>
              </a:tabLst>
            </a:pPr>
            <a:r>
              <a:rPr sz="1760" spc="16" dirty="0">
                <a:solidFill>
                  <a:srgbClr val="0C1524"/>
                </a:solidFill>
              </a:rPr>
              <a:t>Paper functionality </a:t>
            </a:r>
            <a:r>
              <a:rPr sz="1760" spc="24" dirty="0">
                <a:solidFill>
                  <a:srgbClr val="0C1524"/>
                </a:solidFill>
              </a:rPr>
              <a:t>– </a:t>
            </a:r>
            <a:r>
              <a:rPr sz="1760" spc="16" dirty="0">
                <a:solidFill>
                  <a:srgbClr val="0C1524"/>
                </a:solidFill>
              </a:rPr>
              <a:t>paper is not just</a:t>
            </a:r>
            <a:r>
              <a:rPr sz="1760" spc="-208" dirty="0">
                <a:solidFill>
                  <a:srgbClr val="0C1524"/>
                </a:solidFill>
              </a:rPr>
              <a:t> </a:t>
            </a:r>
            <a:r>
              <a:rPr sz="1760" spc="16" dirty="0">
                <a:solidFill>
                  <a:srgbClr val="0C1524"/>
                </a:solidFill>
              </a:rPr>
              <a:t>paper!</a:t>
            </a:r>
            <a:endParaRPr sz="1760" dirty="0"/>
          </a:p>
          <a:p>
            <a:pPr marL="1209040" lvl="1" indent="-457200">
              <a:spcBef>
                <a:spcPts val="752"/>
              </a:spcBef>
              <a:buClr>
                <a:srgbClr val="71B0D3"/>
              </a:buClr>
              <a:buChar char="•"/>
              <a:tabLst>
                <a:tab pos="1208024" algn="l"/>
                <a:tab pos="1209040" algn="l"/>
              </a:tabLst>
            </a:pPr>
            <a:r>
              <a:rPr sz="1760" spc="16" dirty="0">
                <a:solidFill>
                  <a:srgbClr val="517AC6"/>
                </a:solidFill>
              </a:rPr>
              <a:t>Weight</a:t>
            </a:r>
            <a:endParaRPr sz="1760" dirty="0"/>
          </a:p>
          <a:p>
            <a:pPr marL="1209040" lvl="1" indent="-457200">
              <a:spcBef>
                <a:spcPts val="688"/>
              </a:spcBef>
              <a:buClr>
                <a:srgbClr val="71B0D3"/>
              </a:buClr>
              <a:buChar char="•"/>
              <a:tabLst>
                <a:tab pos="1208024" algn="l"/>
                <a:tab pos="1209040" algn="l"/>
              </a:tabLst>
            </a:pPr>
            <a:r>
              <a:rPr sz="1760" spc="16" dirty="0">
                <a:solidFill>
                  <a:srgbClr val="517AC6"/>
                </a:solidFill>
              </a:rPr>
              <a:t>Curl</a:t>
            </a:r>
            <a:r>
              <a:rPr sz="1760" spc="-112" dirty="0">
                <a:solidFill>
                  <a:srgbClr val="517AC6"/>
                </a:solidFill>
              </a:rPr>
              <a:t> </a:t>
            </a:r>
            <a:r>
              <a:rPr sz="1760" spc="16" dirty="0">
                <a:solidFill>
                  <a:srgbClr val="517AC6"/>
                </a:solidFill>
              </a:rPr>
              <a:t>resistance</a:t>
            </a:r>
            <a:endParaRPr sz="1760" dirty="0"/>
          </a:p>
          <a:p>
            <a:pPr marL="1209040" lvl="1" indent="-457200">
              <a:spcBef>
                <a:spcPts val="704"/>
              </a:spcBef>
              <a:buClr>
                <a:srgbClr val="71B0D3"/>
              </a:buClr>
              <a:buChar char="•"/>
              <a:tabLst>
                <a:tab pos="1208024" algn="l"/>
                <a:tab pos="1209040" algn="l"/>
              </a:tabLst>
            </a:pPr>
            <a:r>
              <a:rPr sz="1760" spc="16" dirty="0">
                <a:solidFill>
                  <a:srgbClr val="517AC6"/>
                </a:solidFill>
              </a:rPr>
              <a:t>Heat</a:t>
            </a:r>
            <a:r>
              <a:rPr sz="1760" spc="-136" dirty="0">
                <a:solidFill>
                  <a:srgbClr val="517AC6"/>
                </a:solidFill>
              </a:rPr>
              <a:t> </a:t>
            </a:r>
            <a:r>
              <a:rPr sz="1760" spc="16" dirty="0">
                <a:solidFill>
                  <a:srgbClr val="517AC6"/>
                </a:solidFill>
              </a:rPr>
              <a:t>sensitivity</a:t>
            </a:r>
            <a:endParaRPr sz="1760" dirty="0"/>
          </a:p>
          <a:p>
            <a:pPr marL="1209040" lvl="1" indent="-457200">
              <a:spcBef>
                <a:spcPts val="688"/>
              </a:spcBef>
              <a:buClr>
                <a:srgbClr val="71B0D3"/>
              </a:buClr>
              <a:buChar char="•"/>
              <a:tabLst>
                <a:tab pos="1208024" algn="l"/>
                <a:tab pos="1209040" algn="l"/>
              </a:tabLst>
            </a:pPr>
            <a:r>
              <a:rPr sz="1760" spc="16" dirty="0">
                <a:solidFill>
                  <a:srgbClr val="517AC6"/>
                </a:solidFill>
              </a:rPr>
              <a:t>Smoothness</a:t>
            </a:r>
            <a:endParaRPr sz="1760" dirty="0"/>
          </a:p>
          <a:p>
            <a:pPr marL="1209040" lvl="1" indent="-457200">
              <a:spcBef>
                <a:spcPts val="704"/>
              </a:spcBef>
              <a:buClr>
                <a:srgbClr val="71B0D3"/>
              </a:buClr>
              <a:buChar char="•"/>
              <a:tabLst>
                <a:tab pos="1208024" algn="l"/>
                <a:tab pos="1209040" algn="l"/>
              </a:tabLst>
            </a:pPr>
            <a:r>
              <a:rPr sz="1760" spc="16" dirty="0">
                <a:solidFill>
                  <a:srgbClr val="517AC6"/>
                </a:solidFill>
              </a:rPr>
              <a:t>Chemical</a:t>
            </a:r>
            <a:r>
              <a:rPr sz="1760" spc="-32" dirty="0">
                <a:solidFill>
                  <a:srgbClr val="517AC6"/>
                </a:solidFill>
              </a:rPr>
              <a:t> </a:t>
            </a:r>
            <a:r>
              <a:rPr sz="1760" spc="16" dirty="0">
                <a:solidFill>
                  <a:srgbClr val="517AC6"/>
                </a:solidFill>
              </a:rPr>
              <a:t>composition</a:t>
            </a:r>
            <a:endParaRPr sz="1760" dirty="0"/>
          </a:p>
          <a:p>
            <a:pPr marL="1209040" lvl="1" indent="-457200">
              <a:spcBef>
                <a:spcPts val="688"/>
              </a:spcBef>
              <a:buClr>
                <a:srgbClr val="71B0D3"/>
              </a:buClr>
              <a:buChar char="•"/>
              <a:tabLst>
                <a:tab pos="1208024" algn="l"/>
                <a:tab pos="1209040" algn="l"/>
              </a:tabLst>
            </a:pPr>
            <a:r>
              <a:rPr sz="1760" spc="16" dirty="0">
                <a:solidFill>
                  <a:srgbClr val="517AC6"/>
                </a:solidFill>
              </a:rPr>
              <a:t>Brightness</a:t>
            </a:r>
            <a:endParaRPr sz="1760" dirty="0"/>
          </a:p>
          <a:p>
            <a:pPr marL="1209040" lvl="1" indent="-457200">
              <a:spcBef>
                <a:spcPts val="704"/>
              </a:spcBef>
              <a:buClr>
                <a:srgbClr val="71B0D3"/>
              </a:buClr>
              <a:buChar char="•"/>
              <a:tabLst>
                <a:tab pos="1208024" algn="l"/>
                <a:tab pos="1209040" algn="l"/>
              </a:tabLst>
            </a:pPr>
            <a:r>
              <a:rPr sz="1760" spc="16" dirty="0">
                <a:solidFill>
                  <a:srgbClr val="517AC6"/>
                </a:solidFill>
              </a:rPr>
              <a:t>Testing!</a:t>
            </a:r>
            <a:endParaRPr sz="1760" dirty="0"/>
          </a:p>
        </p:txBody>
      </p:sp>
      <p:sp>
        <p:nvSpPr>
          <p:cNvPr id="5" name="object 5"/>
          <p:cNvSpPr/>
          <p:nvPr/>
        </p:nvSpPr>
        <p:spPr>
          <a:xfrm>
            <a:off x="8706369" y="1582116"/>
            <a:ext cx="5924030" cy="580936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6" name="object 6"/>
          <p:cNvSpPr/>
          <p:nvPr/>
        </p:nvSpPr>
        <p:spPr>
          <a:xfrm>
            <a:off x="8898941" y="675438"/>
            <a:ext cx="2609088" cy="181416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7" name="object 7"/>
          <p:cNvSpPr/>
          <p:nvPr/>
        </p:nvSpPr>
        <p:spPr>
          <a:xfrm>
            <a:off x="6288634" y="4625643"/>
            <a:ext cx="3518610" cy="313090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</p:spTree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8484818" y="7618375"/>
            <a:ext cx="3445256" cy="266740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20320">
              <a:spcBef>
                <a:spcPts val="160"/>
              </a:spcBef>
            </a:pPr>
            <a:r>
              <a:rPr sz="1600" b="1" dirty="0">
                <a:solidFill>
                  <a:srgbClr val="F1F1F1"/>
                </a:solidFill>
              </a:rPr>
              <a:t>CONFIDENTIAL – Internal Use</a:t>
            </a:r>
            <a:r>
              <a:rPr sz="1600" b="1" spc="-216" dirty="0">
                <a:solidFill>
                  <a:srgbClr val="F1F1F1"/>
                </a:solidFill>
              </a:rPr>
              <a:t> </a:t>
            </a:r>
            <a:r>
              <a:rPr sz="1600" b="1" dirty="0">
                <a:solidFill>
                  <a:srgbClr val="F1F1F1"/>
                </a:solidFill>
              </a:rPr>
              <a:t>Only</a:t>
            </a:r>
            <a:endParaRPr sz="1600"/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652781" y="72928"/>
            <a:ext cx="11732766" cy="661720"/>
          </a:xfrm>
          <a:prstGeom prst="rect">
            <a:avLst/>
          </a:prstGeom>
        </p:spPr>
        <p:txBody>
          <a:bodyPr spcFirstLastPara="1" vert="horz" wrap="square" lIns="0" tIns="20320" rIns="0" bIns="0" rtlCol="0" anchor="ctr" anchorCtr="0">
            <a:spAutoFit/>
          </a:bodyPr>
          <a:lstStyle/>
          <a:p>
            <a:pPr marL="20320" marR="8128">
              <a:lnSpc>
                <a:spcPct val="100000"/>
              </a:lnSpc>
              <a:spcBef>
                <a:spcPts val="160"/>
              </a:spcBef>
            </a:pPr>
            <a:r>
              <a:rPr sz="4000" dirty="0"/>
              <a:t>… </a:t>
            </a:r>
            <a:r>
              <a:rPr sz="4000" spc="-8" dirty="0"/>
              <a:t>but we have </a:t>
            </a:r>
            <a:r>
              <a:rPr sz="4000" dirty="0"/>
              <a:t>a </a:t>
            </a:r>
            <a:r>
              <a:rPr sz="4000" spc="-8" dirty="0"/>
              <a:t>paper brochure </a:t>
            </a:r>
            <a:r>
              <a:rPr sz="4000" dirty="0"/>
              <a:t>to </a:t>
            </a:r>
            <a:r>
              <a:rPr sz="4000" spc="-8" dirty="0"/>
              <a:t>help  </a:t>
            </a:r>
            <a:r>
              <a:rPr sz="4000" dirty="0"/>
              <a:t>you!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2503422" y="4076598"/>
            <a:ext cx="4133088" cy="2531975"/>
          </a:xfrm>
          <a:prstGeom prst="rect">
            <a:avLst/>
          </a:prstGeom>
        </p:spPr>
        <p:txBody>
          <a:bodyPr vert="horz" wrap="square" lIns="0" tIns="78232" rIns="0" bIns="0" rtlCol="0">
            <a:spAutoFit/>
          </a:bodyPr>
          <a:lstStyle/>
          <a:p>
            <a:pPr marL="576072" indent="-556768">
              <a:spcBef>
                <a:spcPts val="616"/>
              </a:spcBef>
              <a:buClr>
                <a:srgbClr val="71B0D3"/>
              </a:buClr>
              <a:buChar char="•"/>
              <a:tabLst>
                <a:tab pos="576072" algn="l"/>
                <a:tab pos="577088" algn="l"/>
              </a:tabLst>
            </a:pPr>
            <a:r>
              <a:rPr sz="1920" spc="-8" dirty="0">
                <a:solidFill>
                  <a:srgbClr val="517AC6"/>
                </a:solidFill>
              </a:rPr>
              <a:t>Main</a:t>
            </a:r>
            <a:r>
              <a:rPr sz="1920" spc="-24" dirty="0">
                <a:solidFill>
                  <a:srgbClr val="517AC6"/>
                </a:solidFill>
              </a:rPr>
              <a:t> </a:t>
            </a:r>
            <a:r>
              <a:rPr sz="1920" spc="-8" dirty="0">
                <a:solidFill>
                  <a:srgbClr val="517AC6"/>
                </a:solidFill>
              </a:rPr>
              <a:t>purpose/function?</a:t>
            </a:r>
            <a:endParaRPr sz="1920"/>
          </a:p>
          <a:p>
            <a:pPr marL="1209040" lvl="1" indent="-458216">
              <a:spcBef>
                <a:spcPts val="464"/>
              </a:spcBef>
              <a:buClr>
                <a:srgbClr val="71B0D3"/>
              </a:buClr>
              <a:buChar char="–"/>
              <a:tabLst>
                <a:tab pos="1209040" algn="l"/>
                <a:tab pos="1210056" algn="l"/>
              </a:tabLst>
            </a:pPr>
            <a:r>
              <a:rPr sz="1920" spc="-8" dirty="0">
                <a:solidFill>
                  <a:srgbClr val="517AC6"/>
                </a:solidFill>
              </a:rPr>
              <a:t>Monitoring</a:t>
            </a:r>
            <a:r>
              <a:rPr sz="1920" spc="-48" dirty="0">
                <a:solidFill>
                  <a:srgbClr val="517AC6"/>
                </a:solidFill>
              </a:rPr>
              <a:t> </a:t>
            </a:r>
            <a:r>
              <a:rPr sz="1920" spc="-8" dirty="0">
                <a:solidFill>
                  <a:srgbClr val="517AC6"/>
                </a:solidFill>
              </a:rPr>
              <a:t>ECG</a:t>
            </a:r>
            <a:endParaRPr sz="1920"/>
          </a:p>
          <a:p>
            <a:pPr marL="1209040" lvl="1" indent="-458216">
              <a:spcBef>
                <a:spcPts val="456"/>
              </a:spcBef>
              <a:buClr>
                <a:srgbClr val="71B0D3"/>
              </a:buClr>
              <a:buChar char="–"/>
              <a:tabLst>
                <a:tab pos="1209040" algn="l"/>
                <a:tab pos="1210056" algn="l"/>
              </a:tabLst>
            </a:pPr>
            <a:r>
              <a:rPr sz="1920" spc="-8" dirty="0">
                <a:solidFill>
                  <a:srgbClr val="517AC6"/>
                </a:solidFill>
              </a:rPr>
              <a:t>Diagnostic cardiology</a:t>
            </a:r>
            <a:r>
              <a:rPr sz="1920" spc="-80" dirty="0">
                <a:solidFill>
                  <a:srgbClr val="517AC6"/>
                </a:solidFill>
              </a:rPr>
              <a:t> </a:t>
            </a:r>
            <a:r>
              <a:rPr sz="1920" spc="-8" dirty="0">
                <a:solidFill>
                  <a:srgbClr val="517AC6"/>
                </a:solidFill>
              </a:rPr>
              <a:t>ECG</a:t>
            </a:r>
            <a:endParaRPr sz="1920"/>
          </a:p>
          <a:p>
            <a:pPr marL="1209040" lvl="1" indent="-458216">
              <a:spcBef>
                <a:spcPts val="464"/>
              </a:spcBef>
              <a:buClr>
                <a:srgbClr val="71B0D3"/>
              </a:buClr>
              <a:buChar char="–"/>
              <a:tabLst>
                <a:tab pos="1209040" algn="l"/>
                <a:tab pos="1210056" algn="l"/>
              </a:tabLst>
            </a:pPr>
            <a:r>
              <a:rPr sz="1920" dirty="0">
                <a:solidFill>
                  <a:srgbClr val="517AC6"/>
                </a:solidFill>
              </a:rPr>
              <a:t>OB </a:t>
            </a:r>
            <a:r>
              <a:rPr sz="1920" spc="-8" dirty="0">
                <a:solidFill>
                  <a:srgbClr val="517AC6"/>
                </a:solidFill>
              </a:rPr>
              <a:t>monitoring</a:t>
            </a:r>
            <a:endParaRPr sz="1920"/>
          </a:p>
          <a:p>
            <a:pPr marL="576072" indent="-556768">
              <a:spcBef>
                <a:spcPts val="464"/>
              </a:spcBef>
              <a:buClr>
                <a:srgbClr val="71B0D3"/>
              </a:buClr>
              <a:buChar char="•"/>
              <a:tabLst>
                <a:tab pos="576072" algn="l"/>
                <a:tab pos="577088" algn="l"/>
              </a:tabLst>
            </a:pPr>
            <a:r>
              <a:rPr sz="1920" spc="-8" dirty="0">
                <a:solidFill>
                  <a:srgbClr val="517AC6"/>
                </a:solidFill>
              </a:rPr>
              <a:t>Which</a:t>
            </a:r>
            <a:r>
              <a:rPr sz="1920" spc="-16" dirty="0">
                <a:solidFill>
                  <a:srgbClr val="517AC6"/>
                </a:solidFill>
              </a:rPr>
              <a:t> </a:t>
            </a:r>
            <a:r>
              <a:rPr sz="1920" spc="-8" dirty="0">
                <a:solidFill>
                  <a:srgbClr val="517AC6"/>
                </a:solidFill>
              </a:rPr>
              <a:t>equipment?</a:t>
            </a:r>
            <a:endParaRPr sz="1920"/>
          </a:p>
          <a:p>
            <a:pPr marL="576072" indent="-556768">
              <a:spcBef>
                <a:spcPts val="456"/>
              </a:spcBef>
              <a:buClr>
                <a:srgbClr val="71B0D3"/>
              </a:buClr>
              <a:buChar char="•"/>
              <a:tabLst>
                <a:tab pos="576072" algn="l"/>
                <a:tab pos="577088" algn="l"/>
              </a:tabLst>
            </a:pPr>
            <a:r>
              <a:rPr sz="1920" spc="-8" dirty="0">
                <a:solidFill>
                  <a:srgbClr val="517AC6"/>
                </a:solidFill>
              </a:rPr>
              <a:t>Which archival</a:t>
            </a:r>
            <a:r>
              <a:rPr sz="1920" spc="-32" dirty="0">
                <a:solidFill>
                  <a:srgbClr val="517AC6"/>
                </a:solidFill>
              </a:rPr>
              <a:t> </a:t>
            </a:r>
            <a:r>
              <a:rPr sz="1920" spc="-8" dirty="0">
                <a:solidFill>
                  <a:srgbClr val="517AC6"/>
                </a:solidFill>
              </a:rPr>
              <a:t>life?</a:t>
            </a:r>
            <a:endParaRPr sz="1920"/>
          </a:p>
          <a:p>
            <a:pPr marL="576072" indent="-556768">
              <a:spcBef>
                <a:spcPts val="464"/>
              </a:spcBef>
              <a:buClr>
                <a:srgbClr val="71B0D3"/>
              </a:buClr>
              <a:buChar char="•"/>
              <a:tabLst>
                <a:tab pos="576072" algn="l"/>
                <a:tab pos="577088" algn="l"/>
              </a:tabLst>
            </a:pPr>
            <a:r>
              <a:rPr sz="1920" spc="-8" dirty="0">
                <a:solidFill>
                  <a:srgbClr val="517AC6"/>
                </a:solidFill>
              </a:rPr>
              <a:t>Which</a:t>
            </a:r>
            <a:r>
              <a:rPr sz="1920" spc="-16" dirty="0">
                <a:solidFill>
                  <a:srgbClr val="517AC6"/>
                </a:solidFill>
              </a:rPr>
              <a:t> </a:t>
            </a:r>
            <a:r>
              <a:rPr sz="1920" spc="-8" dirty="0">
                <a:solidFill>
                  <a:srgbClr val="517AC6"/>
                </a:solidFill>
              </a:rPr>
              <a:t>size?</a:t>
            </a:r>
            <a:endParaRPr sz="1920"/>
          </a:p>
        </p:txBody>
      </p:sp>
      <p:sp>
        <p:nvSpPr>
          <p:cNvPr id="5" name="object 5"/>
          <p:cNvSpPr txBox="1"/>
          <p:nvPr/>
        </p:nvSpPr>
        <p:spPr>
          <a:xfrm>
            <a:off x="1954783" y="7545223"/>
            <a:ext cx="176782" cy="611449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20320">
              <a:spcBef>
                <a:spcPts val="160"/>
              </a:spcBef>
            </a:pPr>
            <a:r>
              <a:rPr sz="1920" spc="-8" dirty="0">
                <a:solidFill>
                  <a:srgbClr val="71B0D3"/>
                </a:solidFill>
              </a:rPr>
              <a:t>2</a:t>
            </a:r>
            <a:endParaRPr sz="1920"/>
          </a:p>
          <a:p>
            <a:pPr marL="20320"/>
            <a:r>
              <a:rPr sz="1920" spc="-8" dirty="0">
                <a:solidFill>
                  <a:srgbClr val="71B0D3"/>
                </a:solidFill>
              </a:rPr>
              <a:t>7</a:t>
            </a:r>
            <a:endParaRPr sz="1920"/>
          </a:p>
        </p:txBody>
      </p:sp>
      <p:sp>
        <p:nvSpPr>
          <p:cNvPr id="6" name="object 6"/>
          <p:cNvSpPr/>
          <p:nvPr/>
        </p:nvSpPr>
        <p:spPr>
          <a:xfrm>
            <a:off x="7055511" y="3802683"/>
            <a:ext cx="566926" cy="382585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8" name="object 8"/>
          <p:cNvSpPr/>
          <p:nvPr/>
        </p:nvSpPr>
        <p:spPr>
          <a:xfrm>
            <a:off x="8278367" y="1595931"/>
            <a:ext cx="3774642" cy="542178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72201" y="912483"/>
            <a:ext cx="4141720" cy="3139440"/>
          </a:xfrm>
          <a:prstGeom prst="rect">
            <a:avLst/>
          </a:prstGeom>
        </p:spPr>
      </p:pic>
    </p:spTree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8146" name="Rectangle 2"/>
          <p:cNvSpPr>
            <a:spLocks noGrp="1" noChangeArrowheads="1"/>
          </p:cNvSpPr>
          <p:nvPr>
            <p:ph type="title"/>
          </p:nvPr>
        </p:nvSpPr>
        <p:spPr>
          <a:xfrm>
            <a:off x="2240281" y="252890"/>
            <a:ext cx="10151746" cy="590931"/>
          </a:xfrm>
        </p:spPr>
        <p:txBody>
          <a:bodyPr/>
          <a:lstStyle/>
          <a:p>
            <a:r>
              <a:rPr lang="en-US" altLang="en-US" sz="3840"/>
              <a:t>ECG Recording Papers</a:t>
            </a:r>
          </a:p>
        </p:txBody>
      </p:sp>
      <p:sp>
        <p:nvSpPr>
          <p:cNvPr id="518147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487680" y="2286000"/>
            <a:ext cx="10485120" cy="6040755"/>
          </a:xfrm>
        </p:spPr>
        <p:txBody>
          <a:bodyPr>
            <a:normAutofit/>
          </a:bodyPr>
          <a:lstStyle/>
          <a:p>
            <a:pPr>
              <a:buFontTx/>
              <a:buChar char="•"/>
            </a:pPr>
            <a:r>
              <a:rPr lang="en-US" altLang="en-US" dirty="0"/>
              <a:t>Proprietary products – designed specifically for equipment</a:t>
            </a:r>
          </a:p>
          <a:p>
            <a:pPr>
              <a:buFontTx/>
              <a:buChar char="•"/>
            </a:pPr>
            <a:endParaRPr lang="en-US" altLang="en-US" dirty="0"/>
          </a:p>
          <a:p>
            <a:pPr>
              <a:buFontTx/>
              <a:buChar char="•"/>
            </a:pPr>
            <a:endParaRPr lang="en-US" altLang="en-US" dirty="0"/>
          </a:p>
          <a:p>
            <a:pPr>
              <a:buFontTx/>
              <a:buChar char="•"/>
            </a:pPr>
            <a:r>
              <a:rPr lang="en-US" altLang="en-US" dirty="0"/>
              <a:t>50+ individual product offerings</a:t>
            </a:r>
          </a:p>
          <a:p>
            <a:pPr>
              <a:buFontTx/>
              <a:buChar char="•"/>
            </a:pPr>
            <a:endParaRPr lang="en-US" altLang="en-US" dirty="0"/>
          </a:p>
          <a:p>
            <a:pPr>
              <a:buFontTx/>
              <a:buChar char="•"/>
            </a:pPr>
            <a:endParaRPr lang="en-US" altLang="en-US" dirty="0"/>
          </a:p>
          <a:p>
            <a:pPr>
              <a:buFontTx/>
              <a:buChar char="•"/>
            </a:pPr>
            <a:endParaRPr lang="en-US" altLang="en-US" dirty="0"/>
          </a:p>
          <a:p>
            <a:pPr>
              <a:buFontTx/>
              <a:buChar char="•"/>
            </a:pPr>
            <a:endParaRPr lang="en-US" altLang="en-US" dirty="0"/>
          </a:p>
          <a:p>
            <a:pPr>
              <a:buFontTx/>
              <a:buChar char="•"/>
            </a:pPr>
            <a:endParaRPr lang="en-US" altLang="en-US" dirty="0"/>
          </a:p>
        </p:txBody>
      </p:sp>
      <p:pic>
        <p:nvPicPr>
          <p:cNvPr id="518150" name="Picture 6"/>
          <p:cNvPicPr>
            <a:picLocks noGrp="1" noChangeAspect="1" noChangeArrowheads="1"/>
          </p:cNvPicPr>
          <p:nvPr>
            <p:ph type="clipArt"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022080" y="1698178"/>
            <a:ext cx="2945130" cy="2655570"/>
          </a:xfrm>
          <a:noFill/>
          <a:ln/>
        </p:spPr>
      </p:pic>
      <p:graphicFrame>
        <p:nvGraphicFramePr>
          <p:cNvPr id="518152" name="Object 8"/>
          <p:cNvGraphicFramePr>
            <a:graphicFrameLocks noChangeAspect="1"/>
          </p:cNvGraphicFramePr>
          <p:nvPr/>
        </p:nvGraphicFramePr>
        <p:xfrm>
          <a:off x="5608320" y="4294239"/>
          <a:ext cx="3065146" cy="27165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hoto Editor Photo" r:id="rId3" imgW="5485714" imgH="5485714" progId="MSPhotoEd.3">
                  <p:embed/>
                </p:oleObj>
              </mc:Choice>
              <mc:Fallback>
                <p:oleObj name="Photo Editor Photo" r:id="rId3" imgW="5485714" imgH="5485714" progId="MSPhotoEd.3">
                  <p:embed/>
                  <p:pic>
                    <p:nvPicPr>
                      <p:cNvPr id="518152" name="Object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t="2859" b="8514"/>
                      <a:stretch>
                        <a:fillRect/>
                      </a:stretch>
                    </p:blipFill>
                    <p:spPr bwMode="auto">
                      <a:xfrm>
                        <a:off x="5608320" y="4294239"/>
                        <a:ext cx="3065146" cy="2716530"/>
                      </a:xfrm>
                      <a:prstGeom prst="rect">
                        <a:avLst/>
                      </a:prstGeom>
                      <a:noFill/>
                      <a:ln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591273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966568" y="1463040"/>
            <a:ext cx="10698480" cy="0"/>
          </a:xfrm>
          <a:custGeom>
            <a:avLst/>
            <a:gdLst/>
            <a:ahLst/>
            <a:cxnLst/>
            <a:rect l="l" t="t" r="r" b="b"/>
            <a:pathLst>
              <a:path w="6686550">
                <a:moveTo>
                  <a:pt x="0" y="0"/>
                </a:moveTo>
                <a:lnTo>
                  <a:pt x="6686550" y="0"/>
                </a:lnTo>
              </a:path>
            </a:pathLst>
          </a:custGeom>
          <a:ln w="35052">
            <a:solidFill>
              <a:srgbClr val="AC9F93"/>
            </a:solidFill>
          </a:ln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2075079" y="854680"/>
            <a:ext cx="5260846" cy="563231"/>
          </a:xfrm>
          <a:prstGeom prst="rect">
            <a:avLst/>
          </a:prstGeom>
        </p:spPr>
        <p:txBody>
          <a:bodyPr spcFirstLastPara="1" vert="horz" wrap="square" lIns="0" tIns="20320" rIns="0" bIns="0" rtlCol="0" anchor="ctr" anchorCtr="0">
            <a:spAutoFit/>
          </a:bodyPr>
          <a:lstStyle/>
          <a:p>
            <a:pPr marL="20320">
              <a:lnSpc>
                <a:spcPct val="100000"/>
              </a:lnSpc>
              <a:spcBef>
                <a:spcPts val="160"/>
              </a:spcBef>
            </a:pPr>
            <a:r>
              <a:rPr sz="3360" spc="-8" dirty="0"/>
              <a:t>Set up for ECG on</a:t>
            </a:r>
            <a:r>
              <a:rPr sz="3360" spc="-112" dirty="0"/>
              <a:t> </a:t>
            </a:r>
            <a:r>
              <a:rPr sz="3360" spc="-16" dirty="0"/>
              <a:t>Monitors</a:t>
            </a:r>
            <a:endParaRPr sz="3360"/>
          </a:p>
        </p:txBody>
      </p:sp>
      <p:sp>
        <p:nvSpPr>
          <p:cNvPr id="4" name="object 4"/>
          <p:cNvSpPr/>
          <p:nvPr/>
        </p:nvSpPr>
        <p:spPr>
          <a:xfrm>
            <a:off x="6311797" y="2207971"/>
            <a:ext cx="2403043" cy="222016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5" name="object 5"/>
          <p:cNvSpPr/>
          <p:nvPr/>
        </p:nvSpPr>
        <p:spPr>
          <a:xfrm>
            <a:off x="4562247" y="2207972"/>
            <a:ext cx="1348434" cy="230672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6" name="object 6"/>
          <p:cNvSpPr/>
          <p:nvPr/>
        </p:nvSpPr>
        <p:spPr>
          <a:xfrm>
            <a:off x="9356141" y="2444497"/>
            <a:ext cx="2524963" cy="151790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7" name="object 7"/>
          <p:cNvSpPr/>
          <p:nvPr/>
        </p:nvSpPr>
        <p:spPr>
          <a:xfrm>
            <a:off x="5727802" y="4941416"/>
            <a:ext cx="2348179" cy="219456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8" name="object 8"/>
          <p:cNvSpPr/>
          <p:nvPr/>
        </p:nvSpPr>
        <p:spPr>
          <a:xfrm>
            <a:off x="8802624" y="4846320"/>
            <a:ext cx="3862426" cy="228965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9" name="object 9"/>
          <p:cNvSpPr/>
          <p:nvPr/>
        </p:nvSpPr>
        <p:spPr>
          <a:xfrm>
            <a:off x="1437436" y="1747114"/>
            <a:ext cx="2763925" cy="2632253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0" name="object 10"/>
          <p:cNvSpPr txBox="1"/>
          <p:nvPr/>
        </p:nvSpPr>
        <p:spPr>
          <a:xfrm>
            <a:off x="4064407" y="2870402"/>
            <a:ext cx="303784" cy="407291"/>
          </a:xfrm>
          <a:prstGeom prst="rect">
            <a:avLst/>
          </a:prstGeom>
        </p:spPr>
        <p:txBody>
          <a:bodyPr vert="horz" wrap="square" lIns="0" tIns="25400" rIns="0" bIns="0" rtlCol="0">
            <a:spAutoFit/>
          </a:bodyPr>
          <a:lstStyle/>
          <a:p>
            <a:pPr marL="20320">
              <a:spcBef>
                <a:spcPts val="200"/>
              </a:spcBef>
            </a:pPr>
            <a:r>
              <a:rPr sz="2480" spc="32" dirty="0">
                <a:solidFill>
                  <a:srgbClr val="0C1524"/>
                </a:solidFill>
                <a:latin typeface="Verdana"/>
                <a:cs typeface="Verdana"/>
              </a:rPr>
              <a:t>+</a:t>
            </a:r>
            <a:endParaRPr sz="2480">
              <a:latin typeface="Verdana"/>
              <a:cs typeface="Verdan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8894876" y="2870402"/>
            <a:ext cx="303784" cy="407291"/>
          </a:xfrm>
          <a:prstGeom prst="rect">
            <a:avLst/>
          </a:prstGeom>
        </p:spPr>
        <p:txBody>
          <a:bodyPr vert="horz" wrap="square" lIns="0" tIns="25400" rIns="0" bIns="0" rtlCol="0">
            <a:spAutoFit/>
          </a:bodyPr>
          <a:lstStyle/>
          <a:p>
            <a:pPr marL="20320">
              <a:spcBef>
                <a:spcPts val="200"/>
              </a:spcBef>
            </a:pPr>
            <a:r>
              <a:rPr sz="2480" spc="32" dirty="0">
                <a:solidFill>
                  <a:srgbClr val="0C1524"/>
                </a:solidFill>
                <a:latin typeface="Verdana"/>
                <a:cs typeface="Verdana"/>
              </a:rPr>
              <a:t>+</a:t>
            </a:r>
            <a:endParaRPr sz="2480">
              <a:latin typeface="Verdana"/>
              <a:cs typeface="Verdan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2381383" y="2803753"/>
            <a:ext cx="303784" cy="407291"/>
          </a:xfrm>
          <a:prstGeom prst="rect">
            <a:avLst/>
          </a:prstGeom>
        </p:spPr>
        <p:txBody>
          <a:bodyPr vert="horz" wrap="square" lIns="0" tIns="25400" rIns="0" bIns="0" rtlCol="0">
            <a:spAutoFit/>
          </a:bodyPr>
          <a:lstStyle/>
          <a:p>
            <a:pPr marL="20320">
              <a:spcBef>
                <a:spcPts val="200"/>
              </a:spcBef>
            </a:pPr>
            <a:r>
              <a:rPr sz="2480" spc="32" dirty="0">
                <a:solidFill>
                  <a:srgbClr val="0C1524"/>
                </a:solidFill>
                <a:latin typeface="Verdana"/>
                <a:cs typeface="Verdana"/>
              </a:rPr>
              <a:t>+</a:t>
            </a:r>
            <a:endParaRPr sz="2480">
              <a:latin typeface="Verdana"/>
              <a:cs typeface="Verdan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5052364" y="5737148"/>
            <a:ext cx="303784" cy="407291"/>
          </a:xfrm>
          <a:prstGeom prst="rect">
            <a:avLst/>
          </a:prstGeom>
        </p:spPr>
        <p:txBody>
          <a:bodyPr vert="horz" wrap="square" lIns="0" tIns="25400" rIns="0" bIns="0" rtlCol="0">
            <a:spAutoFit/>
          </a:bodyPr>
          <a:lstStyle/>
          <a:p>
            <a:pPr marL="20320">
              <a:spcBef>
                <a:spcPts val="200"/>
              </a:spcBef>
            </a:pPr>
            <a:r>
              <a:rPr sz="2480" spc="32" dirty="0">
                <a:solidFill>
                  <a:srgbClr val="0C1524"/>
                </a:solidFill>
                <a:latin typeface="Verdana"/>
                <a:cs typeface="Verdana"/>
              </a:rPr>
              <a:t>+</a:t>
            </a:r>
            <a:endParaRPr sz="2480">
              <a:latin typeface="Verdana"/>
              <a:cs typeface="Verdan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5819242" y="2863902"/>
            <a:ext cx="303784" cy="407291"/>
          </a:xfrm>
          <a:prstGeom prst="rect">
            <a:avLst/>
          </a:prstGeom>
        </p:spPr>
        <p:txBody>
          <a:bodyPr vert="horz" wrap="square" lIns="0" tIns="25400" rIns="0" bIns="0" rtlCol="0">
            <a:spAutoFit/>
          </a:bodyPr>
          <a:lstStyle/>
          <a:p>
            <a:pPr marL="20320">
              <a:spcBef>
                <a:spcPts val="200"/>
              </a:spcBef>
            </a:pPr>
            <a:r>
              <a:rPr sz="2480" spc="32" dirty="0">
                <a:solidFill>
                  <a:srgbClr val="0C1524"/>
                </a:solidFill>
                <a:latin typeface="Verdana"/>
                <a:cs typeface="Verdana"/>
              </a:rPr>
              <a:t>+</a:t>
            </a:r>
            <a:endParaRPr sz="2480">
              <a:latin typeface="Verdana"/>
              <a:cs typeface="Verdan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8321854" y="5774537"/>
            <a:ext cx="303784" cy="407291"/>
          </a:xfrm>
          <a:prstGeom prst="rect">
            <a:avLst/>
          </a:prstGeom>
        </p:spPr>
        <p:txBody>
          <a:bodyPr vert="horz" wrap="square" lIns="0" tIns="25400" rIns="0" bIns="0" rtlCol="0">
            <a:spAutoFit/>
          </a:bodyPr>
          <a:lstStyle/>
          <a:p>
            <a:pPr marL="20320">
              <a:spcBef>
                <a:spcPts val="200"/>
              </a:spcBef>
            </a:pPr>
            <a:r>
              <a:rPr sz="2480" spc="32" dirty="0">
                <a:solidFill>
                  <a:srgbClr val="0C1524"/>
                </a:solidFill>
                <a:latin typeface="Verdana"/>
                <a:cs typeface="Verdana"/>
              </a:rPr>
              <a:t>=</a:t>
            </a:r>
            <a:endParaRPr sz="2480">
              <a:latin typeface="Verdana"/>
              <a:cs typeface="Verdana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1502054" y="4780482"/>
            <a:ext cx="3458869" cy="2421331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7" name="object 17"/>
          <p:cNvSpPr txBox="1"/>
          <p:nvPr/>
        </p:nvSpPr>
        <p:spPr>
          <a:xfrm>
            <a:off x="8484818" y="7637661"/>
            <a:ext cx="3445256" cy="247247"/>
          </a:xfrm>
          <a:prstGeom prst="rect">
            <a:avLst/>
          </a:prstGeom>
        </p:spPr>
        <p:txBody>
          <a:bodyPr vert="horz" wrap="square" lIns="0" tIns="1016" rIns="0" bIns="0" rtlCol="0">
            <a:spAutoFit/>
          </a:bodyPr>
          <a:lstStyle/>
          <a:p>
            <a:pPr marL="20320">
              <a:spcBef>
                <a:spcPts val="8"/>
              </a:spcBef>
            </a:pPr>
            <a:r>
              <a:rPr sz="1600" b="1" dirty="0">
                <a:solidFill>
                  <a:srgbClr val="F1F1F1"/>
                </a:solidFill>
              </a:rPr>
              <a:t>CONFIDENTIAL – Internal Use</a:t>
            </a:r>
            <a:r>
              <a:rPr sz="1600" b="1" spc="-216" dirty="0">
                <a:solidFill>
                  <a:srgbClr val="F1F1F1"/>
                </a:solidFill>
              </a:rPr>
              <a:t> </a:t>
            </a:r>
            <a:r>
              <a:rPr sz="1600" b="1" dirty="0">
                <a:solidFill>
                  <a:srgbClr val="F1F1F1"/>
                </a:solidFill>
              </a:rPr>
              <a:t>Only</a:t>
            </a:r>
            <a:endParaRPr sz="1600"/>
          </a:p>
        </p:txBody>
      </p:sp>
      <p:sp>
        <p:nvSpPr>
          <p:cNvPr id="18" name="object 18"/>
          <p:cNvSpPr txBox="1"/>
          <p:nvPr/>
        </p:nvSpPr>
        <p:spPr>
          <a:xfrm>
            <a:off x="1947876" y="7719478"/>
            <a:ext cx="334264" cy="223651"/>
          </a:xfrm>
          <a:prstGeom prst="rect">
            <a:avLst/>
          </a:prstGeom>
        </p:spPr>
        <p:txBody>
          <a:bodyPr vert="horz" wrap="square" lIns="0" tIns="26416" rIns="0" bIns="0" rtlCol="0">
            <a:spAutoFit/>
          </a:bodyPr>
          <a:lstStyle/>
          <a:p>
            <a:pPr marL="60960">
              <a:spcBef>
                <a:spcPts val="208"/>
              </a:spcBef>
            </a:pPr>
            <a:r>
              <a:rPr sz="1280" spc="24" dirty="0">
                <a:solidFill>
                  <a:srgbClr val="0C1524"/>
                </a:solidFill>
                <a:latin typeface="Verdana"/>
                <a:cs typeface="Verdana"/>
              </a:rPr>
              <a:t>88</a:t>
            </a:r>
            <a:endParaRPr sz="1280">
              <a:latin typeface="Verdana"/>
              <a:cs typeface="Verdana"/>
            </a:endParaRPr>
          </a:p>
        </p:txBody>
      </p:sp>
    </p:spTree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0194" name="Rectangle 2"/>
          <p:cNvSpPr>
            <a:spLocks noChangeArrowheads="1"/>
          </p:cNvSpPr>
          <p:nvPr/>
        </p:nvSpPr>
        <p:spPr bwMode="auto">
          <a:xfrm>
            <a:off x="2255521" y="335280"/>
            <a:ext cx="10151746" cy="15335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>
              <a:lnSpc>
                <a:spcPct val="90000"/>
              </a:lnSpc>
              <a:defRPr sz="4000">
                <a:solidFill>
                  <a:srgbClr val="1E4191"/>
                </a:solidFill>
                <a:latin typeface="GE Inspira" pitchFamily="34" charset="0"/>
              </a:defRPr>
            </a:lvl1pPr>
            <a:lvl2pPr>
              <a:lnSpc>
                <a:spcPct val="90000"/>
              </a:lnSpc>
              <a:defRPr sz="4000">
                <a:solidFill>
                  <a:srgbClr val="1E4191"/>
                </a:solidFill>
                <a:latin typeface="GE Inspira" pitchFamily="34" charset="0"/>
              </a:defRPr>
            </a:lvl2pPr>
            <a:lvl3pPr>
              <a:lnSpc>
                <a:spcPct val="90000"/>
              </a:lnSpc>
              <a:defRPr sz="4000">
                <a:solidFill>
                  <a:srgbClr val="1E4191"/>
                </a:solidFill>
                <a:latin typeface="GE Inspira" pitchFamily="34" charset="0"/>
              </a:defRPr>
            </a:lvl3pPr>
            <a:lvl4pPr>
              <a:lnSpc>
                <a:spcPct val="90000"/>
              </a:lnSpc>
              <a:defRPr sz="4000">
                <a:solidFill>
                  <a:srgbClr val="1E4191"/>
                </a:solidFill>
                <a:latin typeface="GE Inspira" pitchFamily="34" charset="0"/>
              </a:defRPr>
            </a:lvl4pPr>
            <a:lvl5pPr>
              <a:lnSpc>
                <a:spcPct val="90000"/>
              </a:lnSpc>
              <a:defRPr sz="4000">
                <a:solidFill>
                  <a:srgbClr val="1E4191"/>
                </a:solidFill>
                <a:latin typeface="GE Inspira" pitchFamily="34" charset="0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rgbClr val="1E4191"/>
                </a:solidFill>
                <a:latin typeface="GE Inspira" pitchFamily="34" charset="0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rgbClr val="1E4191"/>
                </a:solidFill>
                <a:latin typeface="GE Inspira" pitchFamily="34" charset="0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rgbClr val="1E4191"/>
                </a:solidFill>
                <a:latin typeface="GE Inspira" pitchFamily="34" charset="0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rgbClr val="1E4191"/>
                </a:solidFill>
                <a:latin typeface="GE Inspira" pitchFamily="34" charset="0"/>
              </a:defRPr>
            </a:lvl9pPr>
          </a:lstStyle>
          <a:p>
            <a:pPr eaLnBrk="1" hangingPunct="1"/>
            <a:endParaRPr lang="en-US" altLang="en-US" sz="4800"/>
          </a:p>
        </p:txBody>
      </p:sp>
      <p:sp>
        <p:nvSpPr>
          <p:cNvPr id="520195" name="Rectangle 3"/>
          <p:cNvSpPr>
            <a:spLocks noChangeArrowheads="1"/>
          </p:cNvSpPr>
          <p:nvPr/>
        </p:nvSpPr>
        <p:spPr bwMode="auto">
          <a:xfrm>
            <a:off x="3044191" y="2907031"/>
            <a:ext cx="4171950" cy="43967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ct val="50000"/>
              </a:spcBef>
              <a:buClr>
                <a:srgbClr val="004880"/>
              </a:buClr>
              <a:defRPr sz="2800">
                <a:solidFill>
                  <a:srgbClr val="1E4191"/>
                </a:solidFill>
                <a:latin typeface="GE Inspira" pitchFamily="34" charset="0"/>
              </a:defRPr>
            </a:lvl1pPr>
            <a:lvl2pPr marL="341313" indent="-339725">
              <a:lnSpc>
                <a:spcPct val="90000"/>
              </a:lnSpc>
              <a:spcBef>
                <a:spcPct val="30000"/>
              </a:spcBef>
              <a:buClr>
                <a:srgbClr val="004880"/>
              </a:buClr>
              <a:buFont typeface="GE Inspira" pitchFamily="34" charset="0"/>
              <a:buChar char="•"/>
              <a:defRPr sz="2400">
                <a:solidFill>
                  <a:srgbClr val="1E4191"/>
                </a:solidFill>
                <a:latin typeface="GE Inspira" pitchFamily="34" charset="0"/>
              </a:defRPr>
            </a:lvl2pPr>
            <a:lvl3pPr marL="744538" indent="-288925">
              <a:lnSpc>
                <a:spcPct val="90000"/>
              </a:lnSpc>
              <a:spcBef>
                <a:spcPct val="20000"/>
              </a:spcBef>
              <a:buClr>
                <a:srgbClr val="004880"/>
              </a:buClr>
              <a:buChar char="–"/>
              <a:defRPr>
                <a:solidFill>
                  <a:srgbClr val="1E4191"/>
                </a:solidFill>
                <a:latin typeface="GE Inspira" pitchFamily="34" charset="0"/>
              </a:defRPr>
            </a:lvl3pPr>
            <a:lvl4pPr marL="1146175" indent="-287338">
              <a:lnSpc>
                <a:spcPct val="90000"/>
              </a:lnSpc>
              <a:spcBef>
                <a:spcPct val="10000"/>
              </a:spcBef>
              <a:buClr>
                <a:srgbClr val="004880"/>
              </a:buClr>
              <a:buChar char="–"/>
              <a:defRPr>
                <a:solidFill>
                  <a:srgbClr val="1E4191"/>
                </a:solidFill>
                <a:latin typeface="GE Inspira" pitchFamily="34" charset="0"/>
              </a:defRPr>
            </a:lvl4pPr>
            <a:lvl5pPr marL="1546225" indent="-285750">
              <a:lnSpc>
                <a:spcPct val="90000"/>
              </a:lnSpc>
              <a:buClr>
                <a:srgbClr val="004880"/>
              </a:buClr>
              <a:buChar char="–"/>
              <a:defRPr>
                <a:solidFill>
                  <a:srgbClr val="1E4191"/>
                </a:solidFill>
                <a:latin typeface="GE Inspira" pitchFamily="34" charset="0"/>
              </a:defRPr>
            </a:lvl5pPr>
            <a:lvl6pPr marL="2003425" indent="-2857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880"/>
              </a:buClr>
              <a:buChar char="–"/>
              <a:defRPr>
                <a:solidFill>
                  <a:srgbClr val="1E4191"/>
                </a:solidFill>
                <a:latin typeface="GE Inspira" pitchFamily="34" charset="0"/>
              </a:defRPr>
            </a:lvl6pPr>
            <a:lvl7pPr marL="2460625" indent="-2857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880"/>
              </a:buClr>
              <a:buChar char="–"/>
              <a:defRPr>
                <a:solidFill>
                  <a:srgbClr val="1E4191"/>
                </a:solidFill>
                <a:latin typeface="GE Inspira" pitchFamily="34" charset="0"/>
              </a:defRPr>
            </a:lvl7pPr>
            <a:lvl8pPr marL="2917825" indent="-2857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880"/>
              </a:buClr>
              <a:buChar char="–"/>
              <a:defRPr>
                <a:solidFill>
                  <a:srgbClr val="1E4191"/>
                </a:solidFill>
                <a:latin typeface="GE Inspira" pitchFamily="34" charset="0"/>
              </a:defRPr>
            </a:lvl8pPr>
            <a:lvl9pPr marL="3375025" indent="-2857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880"/>
              </a:buClr>
              <a:buChar char="–"/>
              <a:defRPr>
                <a:solidFill>
                  <a:srgbClr val="1E4191"/>
                </a:solidFill>
                <a:latin typeface="GE Inspira" pitchFamily="34" charset="0"/>
              </a:defRPr>
            </a:lvl9pPr>
          </a:lstStyle>
          <a:p>
            <a:pPr eaLnBrk="1" hangingPunct="1">
              <a:buFontTx/>
              <a:buChar char="•"/>
            </a:pPr>
            <a:endParaRPr lang="en-US" altLang="en-US" sz="2640"/>
          </a:p>
        </p:txBody>
      </p:sp>
      <p:sp>
        <p:nvSpPr>
          <p:cNvPr id="520196" name="Rectangle 4"/>
          <p:cNvSpPr>
            <a:spLocks noGrp="1" noChangeArrowheads="1"/>
          </p:cNvSpPr>
          <p:nvPr>
            <p:ph type="title"/>
          </p:nvPr>
        </p:nvSpPr>
        <p:spPr>
          <a:xfrm>
            <a:off x="2240281" y="252890"/>
            <a:ext cx="10151746" cy="590931"/>
          </a:xfrm>
        </p:spPr>
        <p:txBody>
          <a:bodyPr/>
          <a:lstStyle/>
          <a:p>
            <a:r>
              <a:rPr lang="en-US" altLang="en-US" sz="3840"/>
              <a:t>Paper Properties</a:t>
            </a:r>
          </a:p>
        </p:txBody>
      </p:sp>
      <p:sp>
        <p:nvSpPr>
          <p:cNvPr id="520197" name="Rectangle 5"/>
          <p:cNvSpPr>
            <a:spLocks noGrp="1" noChangeArrowheads="1"/>
          </p:cNvSpPr>
          <p:nvPr>
            <p:ph type="body" sz="half" idx="1"/>
          </p:nvPr>
        </p:nvSpPr>
        <p:spPr>
          <a:xfrm>
            <a:off x="487682" y="1320167"/>
            <a:ext cx="11338560" cy="5983605"/>
          </a:xfrm>
        </p:spPr>
        <p:txBody>
          <a:bodyPr>
            <a:normAutofit/>
          </a:bodyPr>
          <a:lstStyle/>
          <a:p>
            <a:pPr marL="114300" indent="0">
              <a:buNone/>
            </a:pPr>
            <a:r>
              <a:rPr lang="en-US" altLang="en-US" sz="2640" b="1" dirty="0">
                <a:solidFill>
                  <a:srgbClr val="FF0000"/>
                </a:solidFill>
              </a:rPr>
              <a:t>Weight</a:t>
            </a:r>
          </a:p>
          <a:p>
            <a:pPr>
              <a:buFontTx/>
              <a:buChar char="•"/>
            </a:pPr>
            <a:r>
              <a:rPr lang="en-US" altLang="en-US" dirty="0"/>
              <a:t>Measurement of both thickness and density of a sheet of paper</a:t>
            </a:r>
          </a:p>
          <a:p>
            <a:pPr>
              <a:buFontTx/>
              <a:buChar char="•"/>
            </a:pPr>
            <a:endParaRPr lang="en-US" altLang="en-US" dirty="0"/>
          </a:p>
          <a:p>
            <a:pPr>
              <a:buFontTx/>
              <a:buChar char="•"/>
            </a:pPr>
            <a:endParaRPr lang="en-US" altLang="en-US" dirty="0">
              <a:solidFill>
                <a:srgbClr val="FF0000"/>
              </a:solidFill>
            </a:endParaRPr>
          </a:p>
          <a:p>
            <a:pPr marL="114300" indent="0">
              <a:buNone/>
            </a:pPr>
            <a:r>
              <a:rPr lang="en-US" altLang="en-US" sz="2640" b="1" dirty="0">
                <a:solidFill>
                  <a:srgbClr val="FF0000"/>
                </a:solidFill>
              </a:rPr>
              <a:t>Curl Resistance</a:t>
            </a:r>
          </a:p>
          <a:p>
            <a:pPr>
              <a:buFontTx/>
              <a:buChar char="•"/>
            </a:pPr>
            <a:r>
              <a:rPr lang="en-US" altLang="en-US" dirty="0"/>
              <a:t>Keeps paper flat at exit site</a:t>
            </a:r>
          </a:p>
          <a:p>
            <a:pPr>
              <a:buFontTx/>
              <a:buChar char="•"/>
            </a:pPr>
            <a:endParaRPr lang="en-US" altLang="en-US" dirty="0"/>
          </a:p>
          <a:p>
            <a:pPr>
              <a:buFontTx/>
              <a:buChar char="•"/>
            </a:pPr>
            <a:r>
              <a:rPr lang="en-US" altLang="en-US" dirty="0"/>
              <a:t>Stiffness or curl ensures paper flows easily through paper rolls, across print head and lies flat on top of the cart</a:t>
            </a:r>
          </a:p>
          <a:p>
            <a:pPr>
              <a:buFontTx/>
              <a:buChar char="•"/>
            </a:pPr>
            <a:endParaRPr lang="en-US" altLang="en-US" dirty="0">
              <a:solidFill>
                <a:srgbClr val="FF0000"/>
              </a:solidFill>
            </a:endParaRPr>
          </a:p>
          <a:p>
            <a:pPr marL="114300" indent="0">
              <a:buNone/>
            </a:pPr>
            <a:r>
              <a:rPr lang="en-US" altLang="en-US" sz="2640" b="1" dirty="0">
                <a:solidFill>
                  <a:srgbClr val="FF0000"/>
                </a:solidFill>
              </a:rPr>
              <a:t>Heat Sensitivity</a:t>
            </a:r>
            <a:endParaRPr lang="en-US" altLang="en-US" dirty="0">
              <a:solidFill>
                <a:srgbClr val="FF0000"/>
              </a:solidFill>
            </a:endParaRPr>
          </a:p>
          <a:p>
            <a:pPr>
              <a:buFontTx/>
              <a:buChar char="•"/>
            </a:pPr>
            <a:r>
              <a:rPr lang="en-US" altLang="en-US" dirty="0"/>
              <a:t>Paper tested to provide the clearest trace</a:t>
            </a:r>
          </a:p>
          <a:p>
            <a:pPr>
              <a:buFontTx/>
              <a:buChar char="•"/>
            </a:pPr>
            <a:endParaRPr lang="en-US" altLang="en-US" dirty="0"/>
          </a:p>
          <a:p>
            <a:endParaRPr lang="en-US" altLang="en-US" sz="2640" dirty="0"/>
          </a:p>
        </p:txBody>
      </p:sp>
      <p:pic>
        <p:nvPicPr>
          <p:cNvPr id="520199" name="Picture 7" descr="C:\Program Files\Common Files\Microsoft Shared\Clipart\cagcat50\BD06529_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71825" y="773430"/>
            <a:ext cx="2689861" cy="213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20201" name="Picture 9" descr="C:\Program Files\Common Files\Microsoft Shared\Clipart\cagcat50\BS00554_.wmf"/>
          <p:cNvPicPr>
            <a:picLocks noGrp="1" noChangeAspect="1" noChangeArrowheads="1"/>
          </p:cNvPicPr>
          <p:nvPr>
            <p:ph type="clipArt" sz="half" idx="2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754259" y="4724400"/>
            <a:ext cx="2588896" cy="1729741"/>
          </a:xfrm>
          <a:noFill/>
          <a:ln/>
        </p:spPr>
      </p:pic>
    </p:spTree>
    <p:extLst>
      <p:ext uri="{BB962C8B-B14F-4D97-AF65-F5344CB8AC3E}">
        <p14:creationId xmlns:p14="http://schemas.microsoft.com/office/powerpoint/2010/main" val="480534688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4290" name="Rectangle 2"/>
          <p:cNvSpPr>
            <a:spLocks noChangeArrowheads="1"/>
          </p:cNvSpPr>
          <p:nvPr/>
        </p:nvSpPr>
        <p:spPr bwMode="auto">
          <a:xfrm>
            <a:off x="2255521" y="335280"/>
            <a:ext cx="10151746" cy="15335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>
              <a:lnSpc>
                <a:spcPct val="90000"/>
              </a:lnSpc>
              <a:defRPr sz="4000">
                <a:solidFill>
                  <a:srgbClr val="1E4191"/>
                </a:solidFill>
                <a:latin typeface="GE Inspira" pitchFamily="34" charset="0"/>
              </a:defRPr>
            </a:lvl1pPr>
            <a:lvl2pPr>
              <a:lnSpc>
                <a:spcPct val="90000"/>
              </a:lnSpc>
              <a:defRPr sz="4000">
                <a:solidFill>
                  <a:srgbClr val="1E4191"/>
                </a:solidFill>
                <a:latin typeface="GE Inspira" pitchFamily="34" charset="0"/>
              </a:defRPr>
            </a:lvl2pPr>
            <a:lvl3pPr>
              <a:lnSpc>
                <a:spcPct val="90000"/>
              </a:lnSpc>
              <a:defRPr sz="4000">
                <a:solidFill>
                  <a:srgbClr val="1E4191"/>
                </a:solidFill>
                <a:latin typeface="GE Inspira" pitchFamily="34" charset="0"/>
              </a:defRPr>
            </a:lvl3pPr>
            <a:lvl4pPr>
              <a:lnSpc>
                <a:spcPct val="90000"/>
              </a:lnSpc>
              <a:defRPr sz="4000">
                <a:solidFill>
                  <a:srgbClr val="1E4191"/>
                </a:solidFill>
                <a:latin typeface="GE Inspira" pitchFamily="34" charset="0"/>
              </a:defRPr>
            </a:lvl4pPr>
            <a:lvl5pPr>
              <a:lnSpc>
                <a:spcPct val="90000"/>
              </a:lnSpc>
              <a:defRPr sz="4000">
                <a:solidFill>
                  <a:srgbClr val="1E4191"/>
                </a:solidFill>
                <a:latin typeface="GE Inspira" pitchFamily="34" charset="0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rgbClr val="1E4191"/>
                </a:solidFill>
                <a:latin typeface="GE Inspira" pitchFamily="34" charset="0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rgbClr val="1E4191"/>
                </a:solidFill>
                <a:latin typeface="GE Inspira" pitchFamily="34" charset="0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rgbClr val="1E4191"/>
                </a:solidFill>
                <a:latin typeface="GE Inspira" pitchFamily="34" charset="0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rgbClr val="1E4191"/>
                </a:solidFill>
                <a:latin typeface="GE Inspira" pitchFamily="34" charset="0"/>
              </a:defRPr>
            </a:lvl9pPr>
          </a:lstStyle>
          <a:p>
            <a:pPr eaLnBrk="1" hangingPunct="1"/>
            <a:endParaRPr lang="en-US" altLang="en-US" sz="4800"/>
          </a:p>
        </p:txBody>
      </p:sp>
      <p:sp>
        <p:nvSpPr>
          <p:cNvPr id="524291" name="Rectangle 3"/>
          <p:cNvSpPr>
            <a:spLocks noChangeArrowheads="1"/>
          </p:cNvSpPr>
          <p:nvPr/>
        </p:nvSpPr>
        <p:spPr bwMode="auto">
          <a:xfrm>
            <a:off x="7416166" y="2026922"/>
            <a:ext cx="4975861" cy="527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ct val="50000"/>
              </a:spcBef>
              <a:buClr>
                <a:srgbClr val="004880"/>
              </a:buClr>
              <a:defRPr sz="2800">
                <a:solidFill>
                  <a:srgbClr val="1E4191"/>
                </a:solidFill>
                <a:latin typeface="GE Inspira" pitchFamily="34" charset="0"/>
              </a:defRPr>
            </a:lvl1pPr>
            <a:lvl2pPr marL="341313" indent="-339725">
              <a:lnSpc>
                <a:spcPct val="90000"/>
              </a:lnSpc>
              <a:spcBef>
                <a:spcPct val="30000"/>
              </a:spcBef>
              <a:buClr>
                <a:srgbClr val="004880"/>
              </a:buClr>
              <a:buFont typeface="GE Inspira" pitchFamily="34" charset="0"/>
              <a:buChar char="•"/>
              <a:defRPr sz="2400">
                <a:solidFill>
                  <a:srgbClr val="1E4191"/>
                </a:solidFill>
                <a:latin typeface="GE Inspira" pitchFamily="34" charset="0"/>
              </a:defRPr>
            </a:lvl2pPr>
            <a:lvl3pPr marL="744538" indent="-288925">
              <a:lnSpc>
                <a:spcPct val="90000"/>
              </a:lnSpc>
              <a:spcBef>
                <a:spcPct val="20000"/>
              </a:spcBef>
              <a:buClr>
                <a:srgbClr val="004880"/>
              </a:buClr>
              <a:buChar char="–"/>
              <a:defRPr>
                <a:solidFill>
                  <a:srgbClr val="1E4191"/>
                </a:solidFill>
                <a:latin typeface="GE Inspira" pitchFamily="34" charset="0"/>
              </a:defRPr>
            </a:lvl3pPr>
            <a:lvl4pPr marL="1146175" indent="-287338">
              <a:lnSpc>
                <a:spcPct val="90000"/>
              </a:lnSpc>
              <a:spcBef>
                <a:spcPct val="10000"/>
              </a:spcBef>
              <a:buClr>
                <a:srgbClr val="004880"/>
              </a:buClr>
              <a:buChar char="–"/>
              <a:defRPr>
                <a:solidFill>
                  <a:srgbClr val="1E4191"/>
                </a:solidFill>
                <a:latin typeface="GE Inspira" pitchFamily="34" charset="0"/>
              </a:defRPr>
            </a:lvl4pPr>
            <a:lvl5pPr marL="1546225" indent="-285750">
              <a:lnSpc>
                <a:spcPct val="90000"/>
              </a:lnSpc>
              <a:buClr>
                <a:srgbClr val="004880"/>
              </a:buClr>
              <a:buChar char="–"/>
              <a:defRPr>
                <a:solidFill>
                  <a:srgbClr val="1E4191"/>
                </a:solidFill>
                <a:latin typeface="GE Inspira" pitchFamily="34" charset="0"/>
              </a:defRPr>
            </a:lvl5pPr>
            <a:lvl6pPr marL="2003425" indent="-2857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880"/>
              </a:buClr>
              <a:buChar char="–"/>
              <a:defRPr>
                <a:solidFill>
                  <a:srgbClr val="1E4191"/>
                </a:solidFill>
                <a:latin typeface="GE Inspira" pitchFamily="34" charset="0"/>
              </a:defRPr>
            </a:lvl6pPr>
            <a:lvl7pPr marL="2460625" indent="-2857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880"/>
              </a:buClr>
              <a:buChar char="–"/>
              <a:defRPr>
                <a:solidFill>
                  <a:srgbClr val="1E4191"/>
                </a:solidFill>
                <a:latin typeface="GE Inspira" pitchFamily="34" charset="0"/>
              </a:defRPr>
            </a:lvl7pPr>
            <a:lvl8pPr marL="2917825" indent="-2857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880"/>
              </a:buClr>
              <a:buChar char="–"/>
              <a:defRPr>
                <a:solidFill>
                  <a:srgbClr val="1E4191"/>
                </a:solidFill>
                <a:latin typeface="GE Inspira" pitchFamily="34" charset="0"/>
              </a:defRPr>
            </a:lvl8pPr>
            <a:lvl9pPr marL="3375025" indent="-2857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880"/>
              </a:buClr>
              <a:buChar char="–"/>
              <a:defRPr>
                <a:solidFill>
                  <a:srgbClr val="1E4191"/>
                </a:solidFill>
                <a:latin typeface="GE Inspira" pitchFamily="34" charset="0"/>
              </a:defRPr>
            </a:lvl9pPr>
          </a:lstStyle>
          <a:p>
            <a:pPr eaLnBrk="1" hangingPunct="1"/>
            <a:endParaRPr lang="en-US" altLang="en-US" sz="2640"/>
          </a:p>
        </p:txBody>
      </p:sp>
      <p:sp>
        <p:nvSpPr>
          <p:cNvPr id="524292" name="Rectangle 4"/>
          <p:cNvSpPr>
            <a:spLocks noGrp="1" noChangeArrowheads="1"/>
          </p:cNvSpPr>
          <p:nvPr>
            <p:ph type="title"/>
          </p:nvPr>
        </p:nvSpPr>
        <p:spPr>
          <a:xfrm>
            <a:off x="2240282" y="374387"/>
            <a:ext cx="10151744" cy="590931"/>
          </a:xfrm>
        </p:spPr>
        <p:txBody>
          <a:bodyPr/>
          <a:lstStyle/>
          <a:p>
            <a:r>
              <a:rPr lang="en-US" altLang="en-US" sz="3840"/>
              <a:t>Paper Properties</a:t>
            </a:r>
          </a:p>
        </p:txBody>
      </p:sp>
      <p:sp>
        <p:nvSpPr>
          <p:cNvPr id="524293" name="Rectangle 5"/>
          <p:cNvSpPr>
            <a:spLocks noGrp="1" noChangeArrowheads="1"/>
          </p:cNvSpPr>
          <p:nvPr>
            <p:ph type="body" sz="half" idx="2"/>
          </p:nvPr>
        </p:nvSpPr>
        <p:spPr>
          <a:xfrm>
            <a:off x="609600" y="1449502"/>
            <a:ext cx="13167360" cy="6042269"/>
          </a:xfrm>
        </p:spPr>
        <p:txBody>
          <a:bodyPr/>
          <a:lstStyle/>
          <a:p>
            <a:pPr marL="114300" indent="0">
              <a:lnSpc>
                <a:spcPct val="80000"/>
              </a:lnSpc>
              <a:buNone/>
            </a:pPr>
            <a:r>
              <a:rPr lang="en-US" altLang="en-US" sz="2400" b="1" dirty="0">
                <a:solidFill>
                  <a:srgbClr val="FF0000"/>
                </a:solidFill>
              </a:rPr>
              <a:t>Smoothness</a:t>
            </a:r>
            <a:endParaRPr lang="en-US" altLang="en-US" sz="1920" dirty="0">
              <a:solidFill>
                <a:srgbClr val="FF0000"/>
              </a:solidFill>
            </a:endParaRPr>
          </a:p>
          <a:p>
            <a:pPr>
              <a:lnSpc>
                <a:spcPct val="80000"/>
              </a:lnSpc>
              <a:buFontTx/>
              <a:buChar char="•"/>
            </a:pPr>
            <a:r>
              <a:rPr lang="en-US" altLang="en-US" sz="1920" dirty="0"/>
              <a:t>Rough paper can increase the potential for a distorted image</a:t>
            </a:r>
          </a:p>
          <a:p>
            <a:pPr>
              <a:lnSpc>
                <a:spcPct val="80000"/>
              </a:lnSpc>
              <a:buFontTx/>
              <a:buChar char="•"/>
            </a:pPr>
            <a:endParaRPr lang="en-US" altLang="en-US" sz="1920" dirty="0"/>
          </a:p>
          <a:p>
            <a:pPr marL="114300" indent="0">
              <a:lnSpc>
                <a:spcPct val="80000"/>
              </a:lnSpc>
              <a:buNone/>
            </a:pPr>
            <a:r>
              <a:rPr lang="en-US" altLang="en-US" sz="2400" b="1" dirty="0">
                <a:solidFill>
                  <a:srgbClr val="FF0000"/>
                </a:solidFill>
              </a:rPr>
              <a:t>Chemical Composition</a:t>
            </a:r>
          </a:p>
          <a:p>
            <a:pPr>
              <a:lnSpc>
                <a:spcPct val="80000"/>
              </a:lnSpc>
              <a:buFontTx/>
              <a:buChar char="•"/>
            </a:pPr>
            <a:r>
              <a:rPr lang="en-US" altLang="en-US" sz="1920" dirty="0"/>
              <a:t>Special formula so thermal papers resist trace fading</a:t>
            </a:r>
          </a:p>
          <a:p>
            <a:pPr>
              <a:lnSpc>
                <a:spcPct val="80000"/>
              </a:lnSpc>
              <a:buFontTx/>
              <a:buChar char="•"/>
            </a:pPr>
            <a:r>
              <a:rPr lang="en-US" altLang="en-US" sz="1920" dirty="0"/>
              <a:t>Ensures traces remain on paper for an extended period of time</a:t>
            </a:r>
          </a:p>
          <a:p>
            <a:pPr>
              <a:lnSpc>
                <a:spcPct val="80000"/>
              </a:lnSpc>
              <a:buFontTx/>
              <a:buChar char="•"/>
            </a:pPr>
            <a:r>
              <a:rPr lang="en-US" altLang="en-US" sz="1920" dirty="0"/>
              <a:t>Examples: Archivist and Premium Thermal Papers</a:t>
            </a:r>
          </a:p>
          <a:p>
            <a:pPr marL="114300" indent="0">
              <a:lnSpc>
                <a:spcPct val="80000"/>
              </a:lnSpc>
              <a:buNone/>
            </a:pPr>
            <a:endParaRPr lang="en-US" altLang="en-US" sz="1920" dirty="0"/>
          </a:p>
          <a:p>
            <a:pPr marL="114300" indent="0">
              <a:lnSpc>
                <a:spcPct val="80000"/>
              </a:lnSpc>
              <a:buNone/>
            </a:pPr>
            <a:r>
              <a:rPr lang="en-US" altLang="en-US" sz="2400" b="1" dirty="0">
                <a:solidFill>
                  <a:srgbClr val="FF0000"/>
                </a:solidFill>
              </a:rPr>
              <a:t>Brightness</a:t>
            </a:r>
            <a:endParaRPr lang="en-US" altLang="en-US" sz="2400" b="1" dirty="0">
              <a:solidFill>
                <a:schemeClr val="hlink"/>
              </a:solidFill>
            </a:endParaRPr>
          </a:p>
          <a:p>
            <a:pPr>
              <a:lnSpc>
                <a:spcPct val="80000"/>
              </a:lnSpc>
              <a:buFontTx/>
              <a:buChar char="•"/>
            </a:pPr>
            <a:r>
              <a:rPr lang="en-US" altLang="en-US" sz="1920" dirty="0"/>
              <a:t>Ensures optimal image readability</a:t>
            </a:r>
          </a:p>
          <a:p>
            <a:pPr>
              <a:lnSpc>
                <a:spcPct val="80000"/>
              </a:lnSpc>
              <a:buFontTx/>
              <a:buChar char="•"/>
            </a:pPr>
            <a:r>
              <a:rPr lang="en-US" altLang="en-US" sz="1920" dirty="0"/>
              <a:t>White tone of sheet, if paper gray/white, trace is difficult to read</a:t>
            </a:r>
          </a:p>
          <a:p>
            <a:pPr>
              <a:lnSpc>
                <a:spcPct val="80000"/>
              </a:lnSpc>
              <a:buFontTx/>
              <a:buChar char="•"/>
            </a:pPr>
            <a:r>
              <a:rPr lang="en-US" altLang="en-US" sz="1920" dirty="0"/>
              <a:t>Brightness of all GE papers selected to provide optimum in image readability</a:t>
            </a:r>
            <a:endParaRPr lang="en-US" altLang="en-US" sz="1920" dirty="0">
              <a:solidFill>
                <a:schemeClr val="folHlink"/>
              </a:solidFill>
            </a:endParaRPr>
          </a:p>
          <a:p>
            <a:pPr>
              <a:lnSpc>
                <a:spcPct val="80000"/>
              </a:lnSpc>
              <a:buFontTx/>
              <a:buChar char="•"/>
            </a:pPr>
            <a:endParaRPr lang="en-US" altLang="en-US" dirty="0"/>
          </a:p>
          <a:p>
            <a:pPr>
              <a:lnSpc>
                <a:spcPct val="80000"/>
              </a:lnSpc>
            </a:pPr>
            <a:endParaRPr lang="en-US" altLang="en-US" dirty="0"/>
          </a:p>
          <a:p>
            <a:pPr>
              <a:lnSpc>
                <a:spcPct val="80000"/>
              </a:lnSpc>
            </a:pPr>
            <a:endParaRPr lang="en-US" altLang="en-US" sz="2040" dirty="0">
              <a:solidFill>
                <a:schemeClr val="folHlink"/>
              </a:solidFill>
            </a:endParaRPr>
          </a:p>
          <a:p>
            <a:pPr>
              <a:lnSpc>
                <a:spcPct val="80000"/>
              </a:lnSpc>
            </a:pPr>
            <a:endParaRPr lang="en-US" altLang="en-US" dirty="0">
              <a:solidFill>
                <a:schemeClr val="folHlink"/>
              </a:solidFill>
            </a:endParaRPr>
          </a:p>
          <a:p>
            <a:pPr>
              <a:lnSpc>
                <a:spcPct val="80000"/>
              </a:lnSpc>
            </a:pPr>
            <a:endParaRPr lang="en-US" altLang="en-US" dirty="0">
              <a:solidFill>
                <a:schemeClr val="folHlink"/>
              </a:solidFill>
            </a:endParaRPr>
          </a:p>
        </p:txBody>
      </p:sp>
      <p:pic>
        <p:nvPicPr>
          <p:cNvPr id="524304" name="Picture 16" descr="C:\Documents and Settings\Owner\My Documents\My Pictures\faded traces.jpg"/>
          <p:cNvPicPr>
            <a:picLocks noGrp="1" noChangeAspect="1" noChangeArrowheads="1"/>
          </p:cNvPicPr>
          <p:nvPr>
            <p:ph type="clipArt"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0607041" y="4169094"/>
            <a:ext cx="3299461" cy="257937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03521349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9410" name="Rectangle 2"/>
          <p:cNvSpPr>
            <a:spLocks noChangeArrowheads="1"/>
          </p:cNvSpPr>
          <p:nvPr/>
        </p:nvSpPr>
        <p:spPr bwMode="auto">
          <a:xfrm>
            <a:off x="2255521" y="335280"/>
            <a:ext cx="10151746" cy="15335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>
              <a:lnSpc>
                <a:spcPct val="90000"/>
              </a:lnSpc>
              <a:defRPr sz="4000">
                <a:solidFill>
                  <a:srgbClr val="1E4191"/>
                </a:solidFill>
                <a:latin typeface="GE Inspira" pitchFamily="34" charset="0"/>
              </a:defRPr>
            </a:lvl1pPr>
            <a:lvl2pPr>
              <a:lnSpc>
                <a:spcPct val="90000"/>
              </a:lnSpc>
              <a:defRPr sz="4000">
                <a:solidFill>
                  <a:srgbClr val="1E4191"/>
                </a:solidFill>
                <a:latin typeface="GE Inspira" pitchFamily="34" charset="0"/>
              </a:defRPr>
            </a:lvl2pPr>
            <a:lvl3pPr>
              <a:lnSpc>
                <a:spcPct val="90000"/>
              </a:lnSpc>
              <a:defRPr sz="4000">
                <a:solidFill>
                  <a:srgbClr val="1E4191"/>
                </a:solidFill>
                <a:latin typeface="GE Inspira" pitchFamily="34" charset="0"/>
              </a:defRPr>
            </a:lvl3pPr>
            <a:lvl4pPr>
              <a:lnSpc>
                <a:spcPct val="90000"/>
              </a:lnSpc>
              <a:defRPr sz="4000">
                <a:solidFill>
                  <a:srgbClr val="1E4191"/>
                </a:solidFill>
                <a:latin typeface="GE Inspira" pitchFamily="34" charset="0"/>
              </a:defRPr>
            </a:lvl4pPr>
            <a:lvl5pPr>
              <a:lnSpc>
                <a:spcPct val="90000"/>
              </a:lnSpc>
              <a:defRPr sz="4000">
                <a:solidFill>
                  <a:srgbClr val="1E4191"/>
                </a:solidFill>
                <a:latin typeface="GE Inspira" pitchFamily="34" charset="0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rgbClr val="1E4191"/>
                </a:solidFill>
                <a:latin typeface="GE Inspira" pitchFamily="34" charset="0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rgbClr val="1E4191"/>
                </a:solidFill>
                <a:latin typeface="GE Inspira" pitchFamily="34" charset="0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rgbClr val="1E4191"/>
                </a:solidFill>
                <a:latin typeface="GE Inspira" pitchFamily="34" charset="0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rgbClr val="1E4191"/>
                </a:solidFill>
                <a:latin typeface="GE Inspira" pitchFamily="34" charset="0"/>
              </a:defRPr>
            </a:lvl9pPr>
          </a:lstStyle>
          <a:p>
            <a:pPr eaLnBrk="1" hangingPunct="1"/>
            <a:endParaRPr lang="en-US" altLang="en-US" sz="4800"/>
          </a:p>
        </p:txBody>
      </p:sp>
      <p:sp>
        <p:nvSpPr>
          <p:cNvPr id="529411" name="Rectangle 3"/>
          <p:cNvSpPr>
            <a:spLocks noChangeArrowheads="1"/>
          </p:cNvSpPr>
          <p:nvPr/>
        </p:nvSpPr>
        <p:spPr bwMode="auto">
          <a:xfrm>
            <a:off x="2240281" y="2026922"/>
            <a:ext cx="4975861" cy="527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ct val="50000"/>
              </a:spcBef>
              <a:buClr>
                <a:srgbClr val="004880"/>
              </a:buClr>
              <a:defRPr sz="2800">
                <a:solidFill>
                  <a:srgbClr val="1E4191"/>
                </a:solidFill>
                <a:latin typeface="GE Inspira" pitchFamily="34" charset="0"/>
              </a:defRPr>
            </a:lvl1pPr>
            <a:lvl2pPr marL="341313" indent="-339725">
              <a:lnSpc>
                <a:spcPct val="90000"/>
              </a:lnSpc>
              <a:spcBef>
                <a:spcPct val="30000"/>
              </a:spcBef>
              <a:buClr>
                <a:srgbClr val="004880"/>
              </a:buClr>
              <a:buFont typeface="GE Inspira" pitchFamily="34" charset="0"/>
              <a:buChar char="•"/>
              <a:defRPr sz="2400">
                <a:solidFill>
                  <a:srgbClr val="1E4191"/>
                </a:solidFill>
                <a:latin typeface="GE Inspira" pitchFamily="34" charset="0"/>
              </a:defRPr>
            </a:lvl2pPr>
            <a:lvl3pPr marL="744538" indent="-288925">
              <a:lnSpc>
                <a:spcPct val="90000"/>
              </a:lnSpc>
              <a:spcBef>
                <a:spcPct val="20000"/>
              </a:spcBef>
              <a:buClr>
                <a:srgbClr val="004880"/>
              </a:buClr>
              <a:buChar char="–"/>
              <a:defRPr>
                <a:solidFill>
                  <a:srgbClr val="1E4191"/>
                </a:solidFill>
                <a:latin typeface="GE Inspira" pitchFamily="34" charset="0"/>
              </a:defRPr>
            </a:lvl3pPr>
            <a:lvl4pPr marL="1146175" indent="-287338">
              <a:lnSpc>
                <a:spcPct val="90000"/>
              </a:lnSpc>
              <a:spcBef>
                <a:spcPct val="10000"/>
              </a:spcBef>
              <a:buClr>
                <a:srgbClr val="004880"/>
              </a:buClr>
              <a:buChar char="–"/>
              <a:defRPr>
                <a:solidFill>
                  <a:srgbClr val="1E4191"/>
                </a:solidFill>
                <a:latin typeface="GE Inspira" pitchFamily="34" charset="0"/>
              </a:defRPr>
            </a:lvl4pPr>
            <a:lvl5pPr marL="1546225" indent="-285750">
              <a:lnSpc>
                <a:spcPct val="90000"/>
              </a:lnSpc>
              <a:buClr>
                <a:srgbClr val="004880"/>
              </a:buClr>
              <a:buChar char="–"/>
              <a:defRPr>
                <a:solidFill>
                  <a:srgbClr val="1E4191"/>
                </a:solidFill>
                <a:latin typeface="GE Inspira" pitchFamily="34" charset="0"/>
              </a:defRPr>
            </a:lvl5pPr>
            <a:lvl6pPr marL="2003425" indent="-2857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880"/>
              </a:buClr>
              <a:buChar char="–"/>
              <a:defRPr>
                <a:solidFill>
                  <a:srgbClr val="1E4191"/>
                </a:solidFill>
                <a:latin typeface="GE Inspira" pitchFamily="34" charset="0"/>
              </a:defRPr>
            </a:lvl6pPr>
            <a:lvl7pPr marL="2460625" indent="-2857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880"/>
              </a:buClr>
              <a:buChar char="–"/>
              <a:defRPr>
                <a:solidFill>
                  <a:srgbClr val="1E4191"/>
                </a:solidFill>
                <a:latin typeface="GE Inspira" pitchFamily="34" charset="0"/>
              </a:defRPr>
            </a:lvl7pPr>
            <a:lvl8pPr marL="2917825" indent="-2857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880"/>
              </a:buClr>
              <a:buChar char="–"/>
              <a:defRPr>
                <a:solidFill>
                  <a:srgbClr val="1E4191"/>
                </a:solidFill>
                <a:latin typeface="GE Inspira" pitchFamily="34" charset="0"/>
              </a:defRPr>
            </a:lvl8pPr>
            <a:lvl9pPr marL="3375025" indent="-2857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880"/>
              </a:buClr>
              <a:buChar char="–"/>
              <a:defRPr>
                <a:solidFill>
                  <a:srgbClr val="1E4191"/>
                </a:solidFill>
                <a:latin typeface="GE Inspira" pitchFamily="34" charset="0"/>
              </a:defRPr>
            </a:lvl9pPr>
          </a:lstStyle>
          <a:p>
            <a:pPr eaLnBrk="1" hangingPunct="1">
              <a:lnSpc>
                <a:spcPct val="85000"/>
              </a:lnSpc>
            </a:pPr>
            <a:endParaRPr lang="en-US" altLang="en-US" sz="2640"/>
          </a:p>
        </p:txBody>
      </p:sp>
      <p:sp>
        <p:nvSpPr>
          <p:cNvPr id="529412" name="Rectangle 4"/>
          <p:cNvSpPr>
            <a:spLocks noGrp="1" noChangeArrowheads="1"/>
          </p:cNvSpPr>
          <p:nvPr>
            <p:ph type="title"/>
          </p:nvPr>
        </p:nvSpPr>
        <p:spPr>
          <a:xfrm>
            <a:off x="2238376" y="274320"/>
            <a:ext cx="10151744" cy="590931"/>
          </a:xfrm>
        </p:spPr>
        <p:txBody>
          <a:bodyPr/>
          <a:lstStyle/>
          <a:p>
            <a:r>
              <a:rPr lang="en-US" altLang="en-US" sz="3840"/>
              <a:t>Recording Papers Marquette ECG Carts</a:t>
            </a:r>
          </a:p>
        </p:txBody>
      </p:sp>
      <p:sp>
        <p:nvSpPr>
          <p:cNvPr id="529413" name="Rectangle 5"/>
          <p:cNvSpPr>
            <a:spLocks noGrp="1" noChangeArrowheads="1"/>
          </p:cNvSpPr>
          <p:nvPr>
            <p:ph type="body" sz="half" idx="1"/>
          </p:nvPr>
        </p:nvSpPr>
        <p:spPr>
          <a:xfrm>
            <a:off x="731519" y="1432560"/>
            <a:ext cx="13662661" cy="4395050"/>
          </a:xfrm>
        </p:spPr>
        <p:txBody>
          <a:bodyPr/>
          <a:lstStyle/>
          <a:p>
            <a:pPr marL="114300" indent="0">
              <a:buNone/>
            </a:pPr>
            <a:r>
              <a:rPr lang="en-US" altLang="en-US" sz="2640" b="1" dirty="0">
                <a:solidFill>
                  <a:srgbClr val="FF0000"/>
                </a:solidFill>
              </a:rPr>
              <a:t>Archivist Thermal Papers</a:t>
            </a:r>
          </a:p>
          <a:p>
            <a:pPr>
              <a:buFontTx/>
              <a:buChar char="•"/>
            </a:pPr>
            <a:r>
              <a:rPr lang="en-US" altLang="en-US" dirty="0"/>
              <a:t>Introduced in 1990</a:t>
            </a:r>
          </a:p>
          <a:p>
            <a:pPr>
              <a:buFontTx/>
              <a:buChar char="•"/>
            </a:pPr>
            <a:endParaRPr lang="en-US" altLang="en-US" dirty="0"/>
          </a:p>
          <a:p>
            <a:pPr>
              <a:buFontTx/>
              <a:buChar char="•"/>
            </a:pPr>
            <a:r>
              <a:rPr lang="en-US" altLang="en-US" dirty="0"/>
              <a:t>Thermal coating has colorless compounds</a:t>
            </a:r>
          </a:p>
          <a:p>
            <a:pPr>
              <a:buFontTx/>
              <a:buChar char="•"/>
            </a:pPr>
            <a:endParaRPr lang="en-US" altLang="en-US" dirty="0"/>
          </a:p>
          <a:p>
            <a:pPr>
              <a:buFontTx/>
              <a:buChar char="•"/>
            </a:pPr>
            <a:r>
              <a:rPr lang="en-US" altLang="en-US" dirty="0"/>
              <a:t>Heat creates a new permanent pigmented compound</a:t>
            </a:r>
          </a:p>
          <a:p>
            <a:pPr>
              <a:buFontTx/>
              <a:buChar char="•"/>
            </a:pPr>
            <a:endParaRPr lang="en-US" altLang="en-US" dirty="0"/>
          </a:p>
          <a:p>
            <a:pPr>
              <a:buFontTx/>
              <a:buChar char="•"/>
            </a:pPr>
            <a:r>
              <a:rPr lang="en-US" altLang="en-US" dirty="0"/>
              <a:t>The compound is black – will NOT return to previous colorless state</a:t>
            </a:r>
          </a:p>
          <a:p>
            <a:pPr>
              <a:buFontTx/>
              <a:buChar char="•"/>
            </a:pPr>
            <a:endParaRPr lang="en-US" altLang="en-US" dirty="0"/>
          </a:p>
          <a:p>
            <a:pPr>
              <a:buFontTx/>
              <a:buChar char="•"/>
            </a:pPr>
            <a:r>
              <a:rPr lang="en-US" altLang="en-US" dirty="0"/>
              <a:t>Lifetime warranty- 100 years against fading</a:t>
            </a:r>
          </a:p>
          <a:p>
            <a:pPr>
              <a:buFontTx/>
              <a:buChar char="•"/>
            </a:pPr>
            <a:endParaRPr lang="en-US" altLang="en-US" dirty="0"/>
          </a:p>
          <a:p>
            <a:pPr>
              <a:buFontTx/>
              <a:buChar char="•"/>
            </a:pPr>
            <a:r>
              <a:rPr lang="en-US" altLang="en-US" dirty="0"/>
              <a:t>Eliminates need for special storage precautions</a:t>
            </a:r>
          </a:p>
          <a:p>
            <a:endParaRPr lang="en-US" altLang="en-US" dirty="0"/>
          </a:p>
        </p:txBody>
      </p:sp>
      <p:pic>
        <p:nvPicPr>
          <p:cNvPr id="529418" name="Picture 10" descr="C:\Documents and Settings\Owner\My Documents\My Pictures\e9004fm.jpg"/>
          <p:cNvPicPr>
            <a:picLocks noGrp="1" noChangeAspect="1" noChangeArrowheads="1"/>
          </p:cNvPicPr>
          <p:nvPr>
            <p:ph type="clipArt"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900161" y="4287613"/>
            <a:ext cx="4640581" cy="307276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1693150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0434" name="Rectangle 2"/>
          <p:cNvSpPr>
            <a:spLocks noChangeArrowheads="1"/>
          </p:cNvSpPr>
          <p:nvPr/>
        </p:nvSpPr>
        <p:spPr bwMode="auto">
          <a:xfrm>
            <a:off x="2255521" y="335280"/>
            <a:ext cx="10151746" cy="15335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>
              <a:lnSpc>
                <a:spcPct val="90000"/>
              </a:lnSpc>
              <a:defRPr sz="4000">
                <a:solidFill>
                  <a:srgbClr val="1E4191"/>
                </a:solidFill>
                <a:latin typeface="GE Inspira" pitchFamily="34" charset="0"/>
              </a:defRPr>
            </a:lvl1pPr>
            <a:lvl2pPr>
              <a:lnSpc>
                <a:spcPct val="90000"/>
              </a:lnSpc>
              <a:defRPr sz="4000">
                <a:solidFill>
                  <a:srgbClr val="1E4191"/>
                </a:solidFill>
                <a:latin typeface="GE Inspira" pitchFamily="34" charset="0"/>
              </a:defRPr>
            </a:lvl2pPr>
            <a:lvl3pPr>
              <a:lnSpc>
                <a:spcPct val="90000"/>
              </a:lnSpc>
              <a:defRPr sz="4000">
                <a:solidFill>
                  <a:srgbClr val="1E4191"/>
                </a:solidFill>
                <a:latin typeface="GE Inspira" pitchFamily="34" charset="0"/>
              </a:defRPr>
            </a:lvl3pPr>
            <a:lvl4pPr>
              <a:lnSpc>
                <a:spcPct val="90000"/>
              </a:lnSpc>
              <a:defRPr sz="4000">
                <a:solidFill>
                  <a:srgbClr val="1E4191"/>
                </a:solidFill>
                <a:latin typeface="GE Inspira" pitchFamily="34" charset="0"/>
              </a:defRPr>
            </a:lvl4pPr>
            <a:lvl5pPr>
              <a:lnSpc>
                <a:spcPct val="90000"/>
              </a:lnSpc>
              <a:defRPr sz="4000">
                <a:solidFill>
                  <a:srgbClr val="1E4191"/>
                </a:solidFill>
                <a:latin typeface="GE Inspira" pitchFamily="34" charset="0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rgbClr val="1E4191"/>
                </a:solidFill>
                <a:latin typeface="GE Inspira" pitchFamily="34" charset="0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rgbClr val="1E4191"/>
                </a:solidFill>
                <a:latin typeface="GE Inspira" pitchFamily="34" charset="0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rgbClr val="1E4191"/>
                </a:solidFill>
                <a:latin typeface="GE Inspira" pitchFamily="34" charset="0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rgbClr val="1E4191"/>
                </a:solidFill>
                <a:latin typeface="GE Inspira" pitchFamily="34" charset="0"/>
              </a:defRPr>
            </a:lvl9pPr>
          </a:lstStyle>
          <a:p>
            <a:pPr eaLnBrk="1" hangingPunct="1"/>
            <a:endParaRPr lang="en-US" altLang="en-US" sz="4800"/>
          </a:p>
        </p:txBody>
      </p:sp>
      <p:sp>
        <p:nvSpPr>
          <p:cNvPr id="530435" name="Rectangle 3"/>
          <p:cNvSpPr>
            <a:spLocks noChangeArrowheads="1"/>
          </p:cNvSpPr>
          <p:nvPr/>
        </p:nvSpPr>
        <p:spPr bwMode="auto">
          <a:xfrm>
            <a:off x="7416166" y="2026922"/>
            <a:ext cx="4975861" cy="527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ct val="50000"/>
              </a:spcBef>
              <a:buClr>
                <a:srgbClr val="004880"/>
              </a:buClr>
              <a:defRPr sz="2800">
                <a:solidFill>
                  <a:srgbClr val="1E4191"/>
                </a:solidFill>
                <a:latin typeface="GE Inspira" pitchFamily="34" charset="0"/>
              </a:defRPr>
            </a:lvl1pPr>
            <a:lvl2pPr marL="341313" indent="-339725">
              <a:lnSpc>
                <a:spcPct val="90000"/>
              </a:lnSpc>
              <a:spcBef>
                <a:spcPct val="30000"/>
              </a:spcBef>
              <a:buClr>
                <a:srgbClr val="004880"/>
              </a:buClr>
              <a:buFont typeface="GE Inspira" pitchFamily="34" charset="0"/>
              <a:buChar char="•"/>
              <a:defRPr sz="2400">
                <a:solidFill>
                  <a:srgbClr val="1E4191"/>
                </a:solidFill>
                <a:latin typeface="GE Inspira" pitchFamily="34" charset="0"/>
              </a:defRPr>
            </a:lvl2pPr>
            <a:lvl3pPr marL="744538" indent="-288925">
              <a:lnSpc>
                <a:spcPct val="90000"/>
              </a:lnSpc>
              <a:spcBef>
                <a:spcPct val="20000"/>
              </a:spcBef>
              <a:buClr>
                <a:srgbClr val="004880"/>
              </a:buClr>
              <a:buChar char="–"/>
              <a:defRPr>
                <a:solidFill>
                  <a:srgbClr val="1E4191"/>
                </a:solidFill>
                <a:latin typeface="GE Inspira" pitchFamily="34" charset="0"/>
              </a:defRPr>
            </a:lvl3pPr>
            <a:lvl4pPr marL="1146175" indent="-287338">
              <a:lnSpc>
                <a:spcPct val="90000"/>
              </a:lnSpc>
              <a:spcBef>
                <a:spcPct val="10000"/>
              </a:spcBef>
              <a:buClr>
                <a:srgbClr val="004880"/>
              </a:buClr>
              <a:buChar char="–"/>
              <a:defRPr>
                <a:solidFill>
                  <a:srgbClr val="1E4191"/>
                </a:solidFill>
                <a:latin typeface="GE Inspira" pitchFamily="34" charset="0"/>
              </a:defRPr>
            </a:lvl4pPr>
            <a:lvl5pPr marL="1546225" indent="-285750">
              <a:lnSpc>
                <a:spcPct val="90000"/>
              </a:lnSpc>
              <a:buClr>
                <a:srgbClr val="004880"/>
              </a:buClr>
              <a:buChar char="–"/>
              <a:defRPr>
                <a:solidFill>
                  <a:srgbClr val="1E4191"/>
                </a:solidFill>
                <a:latin typeface="GE Inspira" pitchFamily="34" charset="0"/>
              </a:defRPr>
            </a:lvl5pPr>
            <a:lvl6pPr marL="2003425" indent="-2857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880"/>
              </a:buClr>
              <a:buChar char="–"/>
              <a:defRPr>
                <a:solidFill>
                  <a:srgbClr val="1E4191"/>
                </a:solidFill>
                <a:latin typeface="GE Inspira" pitchFamily="34" charset="0"/>
              </a:defRPr>
            </a:lvl6pPr>
            <a:lvl7pPr marL="2460625" indent="-2857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880"/>
              </a:buClr>
              <a:buChar char="–"/>
              <a:defRPr>
                <a:solidFill>
                  <a:srgbClr val="1E4191"/>
                </a:solidFill>
                <a:latin typeface="GE Inspira" pitchFamily="34" charset="0"/>
              </a:defRPr>
            </a:lvl7pPr>
            <a:lvl8pPr marL="2917825" indent="-2857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880"/>
              </a:buClr>
              <a:buChar char="–"/>
              <a:defRPr>
                <a:solidFill>
                  <a:srgbClr val="1E4191"/>
                </a:solidFill>
                <a:latin typeface="GE Inspira" pitchFamily="34" charset="0"/>
              </a:defRPr>
            </a:lvl8pPr>
            <a:lvl9pPr marL="3375025" indent="-2857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880"/>
              </a:buClr>
              <a:buChar char="–"/>
              <a:defRPr>
                <a:solidFill>
                  <a:srgbClr val="1E4191"/>
                </a:solidFill>
                <a:latin typeface="GE Inspira" pitchFamily="34" charset="0"/>
              </a:defRPr>
            </a:lvl9pPr>
          </a:lstStyle>
          <a:p>
            <a:pPr eaLnBrk="1" hangingPunct="1">
              <a:lnSpc>
                <a:spcPct val="85000"/>
              </a:lnSpc>
            </a:pPr>
            <a:endParaRPr lang="en-US" altLang="en-US" sz="2640"/>
          </a:p>
        </p:txBody>
      </p:sp>
      <p:sp>
        <p:nvSpPr>
          <p:cNvPr id="530436" name="Rectangle 4"/>
          <p:cNvSpPr>
            <a:spLocks noGrp="1" noChangeArrowheads="1"/>
          </p:cNvSpPr>
          <p:nvPr>
            <p:ph type="title"/>
          </p:nvPr>
        </p:nvSpPr>
        <p:spPr>
          <a:xfrm>
            <a:off x="2238376" y="274320"/>
            <a:ext cx="10151744" cy="590931"/>
          </a:xfrm>
        </p:spPr>
        <p:txBody>
          <a:bodyPr/>
          <a:lstStyle/>
          <a:p>
            <a:r>
              <a:rPr lang="en-US" altLang="en-US" sz="3840"/>
              <a:t>Recording Papers Marquette ECG Carts</a:t>
            </a:r>
          </a:p>
        </p:txBody>
      </p:sp>
      <p:sp>
        <p:nvSpPr>
          <p:cNvPr id="530437" name="Rectangle 5"/>
          <p:cNvSpPr>
            <a:spLocks noGrp="1" noChangeArrowheads="1"/>
          </p:cNvSpPr>
          <p:nvPr>
            <p:ph type="body" sz="half" idx="2"/>
          </p:nvPr>
        </p:nvSpPr>
        <p:spPr>
          <a:xfrm>
            <a:off x="243842" y="1562101"/>
            <a:ext cx="13898880" cy="3123626"/>
          </a:xfrm>
        </p:spPr>
        <p:txBody>
          <a:bodyPr/>
          <a:lstStyle/>
          <a:p>
            <a:pPr marL="114300" indent="0">
              <a:lnSpc>
                <a:spcPct val="85000"/>
              </a:lnSpc>
              <a:buNone/>
            </a:pPr>
            <a:r>
              <a:rPr lang="en-US" altLang="en-US" sz="2640" b="1" dirty="0">
                <a:solidFill>
                  <a:srgbClr val="FF0000"/>
                </a:solidFill>
              </a:rPr>
              <a:t>Premium Thermal Papers</a:t>
            </a:r>
          </a:p>
          <a:p>
            <a:pPr>
              <a:lnSpc>
                <a:spcPct val="85000"/>
              </a:lnSpc>
              <a:buFontTx/>
              <a:buChar char="•"/>
            </a:pPr>
            <a:endParaRPr lang="en-US" altLang="en-US" dirty="0"/>
          </a:p>
          <a:p>
            <a:pPr>
              <a:lnSpc>
                <a:spcPct val="85000"/>
              </a:lnSpc>
              <a:buFontTx/>
              <a:buChar char="•"/>
            </a:pPr>
            <a:r>
              <a:rPr lang="en-US" altLang="en-US" dirty="0"/>
              <a:t>Originally called Marquette “Standard” thermal paper</a:t>
            </a:r>
          </a:p>
          <a:p>
            <a:pPr>
              <a:lnSpc>
                <a:spcPct val="85000"/>
              </a:lnSpc>
              <a:buFontTx/>
              <a:buChar char="•"/>
            </a:pPr>
            <a:endParaRPr lang="en-US" altLang="en-US" dirty="0"/>
          </a:p>
          <a:p>
            <a:pPr>
              <a:lnSpc>
                <a:spcPct val="85000"/>
              </a:lnSpc>
              <a:buFontTx/>
              <a:buChar char="•"/>
            </a:pPr>
            <a:r>
              <a:rPr lang="en-US" altLang="en-US" dirty="0"/>
              <a:t>Exclusive chemical composition resists trace fading for 5-7 years</a:t>
            </a:r>
          </a:p>
          <a:p>
            <a:pPr>
              <a:lnSpc>
                <a:spcPct val="85000"/>
              </a:lnSpc>
              <a:buFontTx/>
              <a:buChar char="•"/>
            </a:pPr>
            <a:endParaRPr lang="en-US" altLang="en-US" dirty="0"/>
          </a:p>
          <a:p>
            <a:pPr>
              <a:lnSpc>
                <a:spcPct val="85000"/>
              </a:lnSpc>
            </a:pPr>
            <a:endParaRPr lang="en-US" altLang="en-US" dirty="0"/>
          </a:p>
          <a:p>
            <a:pPr>
              <a:lnSpc>
                <a:spcPct val="85000"/>
              </a:lnSpc>
              <a:buFontTx/>
              <a:buChar char="•"/>
            </a:pPr>
            <a:r>
              <a:rPr lang="en-US" altLang="en-US" dirty="0"/>
              <a:t>Available in wide variety of configurations for all GE systems using thermal papers</a:t>
            </a:r>
          </a:p>
          <a:p>
            <a:pPr lvl="1">
              <a:lnSpc>
                <a:spcPct val="85000"/>
              </a:lnSpc>
            </a:pPr>
            <a:r>
              <a:rPr lang="en-US" altLang="en-US" sz="2040" dirty="0"/>
              <a:t>Chart z-fold</a:t>
            </a:r>
          </a:p>
          <a:p>
            <a:pPr lvl="1">
              <a:lnSpc>
                <a:spcPct val="85000"/>
              </a:lnSpc>
            </a:pPr>
            <a:r>
              <a:rPr lang="en-US" altLang="en-US" sz="2040" dirty="0"/>
              <a:t>Rolls</a:t>
            </a:r>
          </a:p>
          <a:p>
            <a:pPr lvl="1">
              <a:lnSpc>
                <a:spcPct val="85000"/>
              </a:lnSpc>
            </a:pPr>
            <a:endParaRPr lang="en-US" altLang="en-US" sz="2040" dirty="0"/>
          </a:p>
        </p:txBody>
      </p:sp>
      <p:pic>
        <p:nvPicPr>
          <p:cNvPr id="530438" name="Picture 6" descr="C:\Documents and Settings\Owner\My Documents\My Pictures\9402-024.jpg"/>
          <p:cNvPicPr>
            <a:picLocks noGrp="1" noChangeAspect="1" noChangeArrowheads="1"/>
          </p:cNvPicPr>
          <p:nvPr>
            <p:ph type="clipArt"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0532746" y="4114800"/>
            <a:ext cx="3749040" cy="3015616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10437561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1458" name="Rectangle 2"/>
          <p:cNvSpPr>
            <a:spLocks noChangeArrowheads="1"/>
          </p:cNvSpPr>
          <p:nvPr/>
        </p:nvSpPr>
        <p:spPr bwMode="auto">
          <a:xfrm>
            <a:off x="2255521" y="335280"/>
            <a:ext cx="10151746" cy="15335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>
              <a:lnSpc>
                <a:spcPct val="90000"/>
              </a:lnSpc>
              <a:defRPr sz="4000">
                <a:solidFill>
                  <a:srgbClr val="1E4191"/>
                </a:solidFill>
                <a:latin typeface="GE Inspira" pitchFamily="34" charset="0"/>
              </a:defRPr>
            </a:lvl1pPr>
            <a:lvl2pPr>
              <a:lnSpc>
                <a:spcPct val="90000"/>
              </a:lnSpc>
              <a:defRPr sz="4000">
                <a:solidFill>
                  <a:srgbClr val="1E4191"/>
                </a:solidFill>
                <a:latin typeface="GE Inspira" pitchFamily="34" charset="0"/>
              </a:defRPr>
            </a:lvl2pPr>
            <a:lvl3pPr>
              <a:lnSpc>
                <a:spcPct val="90000"/>
              </a:lnSpc>
              <a:defRPr sz="4000">
                <a:solidFill>
                  <a:srgbClr val="1E4191"/>
                </a:solidFill>
                <a:latin typeface="GE Inspira" pitchFamily="34" charset="0"/>
              </a:defRPr>
            </a:lvl3pPr>
            <a:lvl4pPr>
              <a:lnSpc>
                <a:spcPct val="90000"/>
              </a:lnSpc>
              <a:defRPr sz="4000">
                <a:solidFill>
                  <a:srgbClr val="1E4191"/>
                </a:solidFill>
                <a:latin typeface="GE Inspira" pitchFamily="34" charset="0"/>
              </a:defRPr>
            </a:lvl4pPr>
            <a:lvl5pPr>
              <a:lnSpc>
                <a:spcPct val="90000"/>
              </a:lnSpc>
              <a:defRPr sz="4000">
                <a:solidFill>
                  <a:srgbClr val="1E4191"/>
                </a:solidFill>
                <a:latin typeface="GE Inspira" pitchFamily="34" charset="0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rgbClr val="1E4191"/>
                </a:solidFill>
                <a:latin typeface="GE Inspira" pitchFamily="34" charset="0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rgbClr val="1E4191"/>
                </a:solidFill>
                <a:latin typeface="GE Inspira" pitchFamily="34" charset="0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rgbClr val="1E4191"/>
                </a:solidFill>
                <a:latin typeface="GE Inspira" pitchFamily="34" charset="0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rgbClr val="1E4191"/>
                </a:solidFill>
                <a:latin typeface="GE Inspira" pitchFamily="34" charset="0"/>
              </a:defRPr>
            </a:lvl9pPr>
          </a:lstStyle>
          <a:p>
            <a:pPr eaLnBrk="1" hangingPunct="1"/>
            <a:endParaRPr lang="en-US" altLang="en-US" sz="4800"/>
          </a:p>
        </p:txBody>
      </p:sp>
      <p:sp>
        <p:nvSpPr>
          <p:cNvPr id="531459" name="Rectangle 3"/>
          <p:cNvSpPr>
            <a:spLocks noChangeArrowheads="1"/>
          </p:cNvSpPr>
          <p:nvPr/>
        </p:nvSpPr>
        <p:spPr bwMode="auto">
          <a:xfrm>
            <a:off x="2240281" y="2346961"/>
            <a:ext cx="4975861" cy="49568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ct val="50000"/>
              </a:spcBef>
              <a:buClr>
                <a:srgbClr val="004880"/>
              </a:buClr>
              <a:defRPr sz="2800">
                <a:solidFill>
                  <a:srgbClr val="1E4191"/>
                </a:solidFill>
                <a:latin typeface="GE Inspira" pitchFamily="34" charset="0"/>
              </a:defRPr>
            </a:lvl1pPr>
            <a:lvl2pPr marL="341313" indent="-339725">
              <a:lnSpc>
                <a:spcPct val="90000"/>
              </a:lnSpc>
              <a:spcBef>
                <a:spcPct val="30000"/>
              </a:spcBef>
              <a:buClr>
                <a:srgbClr val="004880"/>
              </a:buClr>
              <a:buFont typeface="GE Inspira" pitchFamily="34" charset="0"/>
              <a:buChar char="•"/>
              <a:defRPr sz="2400">
                <a:solidFill>
                  <a:srgbClr val="1E4191"/>
                </a:solidFill>
                <a:latin typeface="GE Inspira" pitchFamily="34" charset="0"/>
              </a:defRPr>
            </a:lvl2pPr>
            <a:lvl3pPr marL="744538" indent="-288925">
              <a:lnSpc>
                <a:spcPct val="90000"/>
              </a:lnSpc>
              <a:spcBef>
                <a:spcPct val="20000"/>
              </a:spcBef>
              <a:buClr>
                <a:srgbClr val="004880"/>
              </a:buClr>
              <a:buChar char="–"/>
              <a:defRPr>
                <a:solidFill>
                  <a:srgbClr val="1E4191"/>
                </a:solidFill>
                <a:latin typeface="GE Inspira" pitchFamily="34" charset="0"/>
              </a:defRPr>
            </a:lvl3pPr>
            <a:lvl4pPr marL="1146175" indent="-287338">
              <a:lnSpc>
                <a:spcPct val="90000"/>
              </a:lnSpc>
              <a:spcBef>
                <a:spcPct val="10000"/>
              </a:spcBef>
              <a:buClr>
                <a:srgbClr val="004880"/>
              </a:buClr>
              <a:buChar char="–"/>
              <a:defRPr>
                <a:solidFill>
                  <a:srgbClr val="1E4191"/>
                </a:solidFill>
                <a:latin typeface="GE Inspira" pitchFamily="34" charset="0"/>
              </a:defRPr>
            </a:lvl4pPr>
            <a:lvl5pPr marL="1546225" indent="-285750">
              <a:lnSpc>
                <a:spcPct val="90000"/>
              </a:lnSpc>
              <a:buClr>
                <a:srgbClr val="004880"/>
              </a:buClr>
              <a:buChar char="–"/>
              <a:defRPr>
                <a:solidFill>
                  <a:srgbClr val="1E4191"/>
                </a:solidFill>
                <a:latin typeface="GE Inspira" pitchFamily="34" charset="0"/>
              </a:defRPr>
            </a:lvl5pPr>
            <a:lvl6pPr marL="2003425" indent="-2857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880"/>
              </a:buClr>
              <a:buChar char="–"/>
              <a:defRPr>
                <a:solidFill>
                  <a:srgbClr val="1E4191"/>
                </a:solidFill>
                <a:latin typeface="GE Inspira" pitchFamily="34" charset="0"/>
              </a:defRPr>
            </a:lvl6pPr>
            <a:lvl7pPr marL="2460625" indent="-2857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880"/>
              </a:buClr>
              <a:buChar char="–"/>
              <a:defRPr>
                <a:solidFill>
                  <a:srgbClr val="1E4191"/>
                </a:solidFill>
                <a:latin typeface="GE Inspira" pitchFamily="34" charset="0"/>
              </a:defRPr>
            </a:lvl7pPr>
            <a:lvl8pPr marL="2917825" indent="-2857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880"/>
              </a:buClr>
              <a:buChar char="–"/>
              <a:defRPr>
                <a:solidFill>
                  <a:srgbClr val="1E4191"/>
                </a:solidFill>
                <a:latin typeface="GE Inspira" pitchFamily="34" charset="0"/>
              </a:defRPr>
            </a:lvl8pPr>
            <a:lvl9pPr marL="3375025" indent="-2857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880"/>
              </a:buClr>
              <a:buChar char="–"/>
              <a:defRPr>
                <a:solidFill>
                  <a:srgbClr val="1E4191"/>
                </a:solidFill>
                <a:latin typeface="GE Inspira" pitchFamily="34" charset="0"/>
              </a:defRPr>
            </a:lvl9pPr>
          </a:lstStyle>
          <a:p>
            <a:pPr eaLnBrk="1" hangingPunct="1"/>
            <a:endParaRPr lang="en-US" altLang="en-US" sz="2640"/>
          </a:p>
        </p:txBody>
      </p:sp>
      <p:sp>
        <p:nvSpPr>
          <p:cNvPr id="531460" name="Rectangle 4"/>
          <p:cNvSpPr>
            <a:spLocks noGrp="1" noChangeArrowheads="1"/>
          </p:cNvSpPr>
          <p:nvPr>
            <p:ph type="title"/>
          </p:nvPr>
        </p:nvSpPr>
        <p:spPr>
          <a:xfrm>
            <a:off x="2238376" y="274320"/>
            <a:ext cx="10151744" cy="590931"/>
          </a:xfrm>
        </p:spPr>
        <p:txBody>
          <a:bodyPr/>
          <a:lstStyle/>
          <a:p>
            <a:r>
              <a:rPr lang="en-US" altLang="en-US" sz="3840"/>
              <a:t>Recording Papers Marquette ECG Carts</a:t>
            </a:r>
          </a:p>
        </p:txBody>
      </p:sp>
      <p:sp>
        <p:nvSpPr>
          <p:cNvPr id="531461" name="Rectangle 5"/>
          <p:cNvSpPr>
            <a:spLocks noGrp="1" noChangeArrowheads="1"/>
          </p:cNvSpPr>
          <p:nvPr>
            <p:ph type="body" sz="half" idx="1"/>
          </p:nvPr>
        </p:nvSpPr>
        <p:spPr>
          <a:xfrm>
            <a:off x="243841" y="1925955"/>
            <a:ext cx="13045438" cy="3397853"/>
          </a:xfrm>
        </p:spPr>
        <p:txBody>
          <a:bodyPr/>
          <a:lstStyle/>
          <a:p>
            <a:pPr marL="114300" indent="0">
              <a:buNone/>
            </a:pPr>
            <a:r>
              <a:rPr lang="en-US" altLang="en-US" sz="2640" b="1" dirty="0">
                <a:solidFill>
                  <a:srgbClr val="FF0000"/>
                </a:solidFill>
              </a:rPr>
              <a:t>Universal Thermal Papers</a:t>
            </a:r>
          </a:p>
          <a:p>
            <a:pPr>
              <a:buFontTx/>
              <a:buChar char="•"/>
            </a:pPr>
            <a:r>
              <a:rPr lang="en-US" altLang="en-US" dirty="0"/>
              <a:t>Introduced in 1993</a:t>
            </a:r>
          </a:p>
          <a:p>
            <a:pPr>
              <a:buFontTx/>
              <a:buChar char="•"/>
            </a:pPr>
            <a:endParaRPr lang="en-US" altLang="en-US" dirty="0"/>
          </a:p>
          <a:p>
            <a:pPr>
              <a:buFontTx/>
              <a:buChar char="•"/>
            </a:pPr>
            <a:r>
              <a:rPr lang="en-US" altLang="en-US" dirty="0"/>
              <a:t>Low cost papers</a:t>
            </a:r>
          </a:p>
          <a:p>
            <a:pPr>
              <a:buFontTx/>
              <a:buChar char="•"/>
            </a:pPr>
            <a:endParaRPr lang="en-US" altLang="en-US" dirty="0"/>
          </a:p>
          <a:p>
            <a:pPr>
              <a:buFontTx/>
              <a:buChar char="•"/>
            </a:pPr>
            <a:r>
              <a:rPr lang="en-US" altLang="en-US" dirty="0"/>
              <a:t>Bright white paper offers excellent trace legibility</a:t>
            </a:r>
          </a:p>
          <a:p>
            <a:pPr>
              <a:buFontTx/>
              <a:buChar char="•"/>
            </a:pPr>
            <a:endParaRPr lang="en-US" altLang="en-US" dirty="0"/>
          </a:p>
          <a:p>
            <a:pPr>
              <a:buFontTx/>
              <a:buChar char="•"/>
            </a:pPr>
            <a:r>
              <a:rPr lang="en-US" altLang="en-US" dirty="0"/>
              <a:t> Resists trace fading for 2-3 years</a:t>
            </a:r>
          </a:p>
          <a:p>
            <a:pPr>
              <a:buFontTx/>
              <a:buChar char="•"/>
            </a:pPr>
            <a:endParaRPr lang="en-US" altLang="en-US" dirty="0"/>
          </a:p>
          <a:p>
            <a:pPr>
              <a:buFontTx/>
              <a:buChar char="•"/>
            </a:pPr>
            <a:r>
              <a:rPr lang="en-US" altLang="en-US" dirty="0"/>
              <a:t>Similar weight and density to premium paper</a:t>
            </a:r>
          </a:p>
        </p:txBody>
      </p:sp>
      <p:pic>
        <p:nvPicPr>
          <p:cNvPr id="531462" name="Picture 6" descr="C:\Documents and Settings\Owner\My Documents\My Pictures\9402-031.jpg"/>
          <p:cNvPicPr>
            <a:picLocks noGrp="1" noChangeAspect="1" noChangeArrowheads="1"/>
          </p:cNvPicPr>
          <p:nvPr>
            <p:ph type="clipArt"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0494645" y="3870961"/>
            <a:ext cx="3790950" cy="317944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77465826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Cardiology Paper Competitor in EMEA</a:t>
            </a:r>
            <a:br>
              <a:rPr lang="en-US" dirty="0"/>
            </a:b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4294967295"/>
          </p:nvPr>
        </p:nvSpPr>
        <p:spPr>
          <a:xfrm>
            <a:off x="457200" y="1029340"/>
            <a:ext cx="11979275" cy="5649913"/>
          </a:xfrm>
        </p:spPr>
        <p:txBody>
          <a:bodyPr/>
          <a:lstStyle/>
          <a:p>
            <a:pPr indent="-457200">
              <a:buFont typeface="Arial" panose="020B0604020202020204" pitchFamily="34" charset="0"/>
              <a:buChar char="•"/>
            </a:pPr>
            <a:r>
              <a:rPr lang="en-GB" dirty="0"/>
              <a:t>Tyco/</a:t>
            </a:r>
            <a:r>
              <a:rPr lang="en-GB" dirty="0" err="1"/>
              <a:t>Controlles</a:t>
            </a:r>
            <a:r>
              <a:rPr lang="en-GB" dirty="0"/>
              <a:t> </a:t>
            </a:r>
            <a:r>
              <a:rPr lang="en-GB" dirty="0" err="1"/>
              <a:t>Graphicos</a:t>
            </a:r>
            <a:r>
              <a:rPr lang="en-GB" dirty="0"/>
              <a:t>,  Low to medium quality, OEM Manufacturer</a:t>
            </a:r>
          </a:p>
          <a:p>
            <a:pPr indent="-457200">
              <a:buFont typeface="Arial" panose="020B0604020202020204" pitchFamily="34" charset="0"/>
              <a:buChar char="•"/>
            </a:pPr>
            <a:endParaRPr lang="en-GB" dirty="0"/>
          </a:p>
          <a:p>
            <a:pPr indent="-457200">
              <a:buFont typeface="Arial" panose="020B0604020202020204" pitchFamily="34" charset="0"/>
              <a:buChar char="•"/>
            </a:pPr>
            <a:r>
              <a:rPr lang="en-GB" dirty="0"/>
              <a:t>Blumberg, Germany, OEM manufacturer, large Breadth of paper; Standard quality</a:t>
            </a:r>
          </a:p>
          <a:p>
            <a:pPr indent="-457200">
              <a:buFont typeface="Arial" panose="020B0604020202020204" pitchFamily="34" charset="0"/>
              <a:buChar char="•"/>
            </a:pPr>
            <a:endParaRPr lang="en-GB" dirty="0"/>
          </a:p>
          <a:p>
            <a:pPr indent="-457200">
              <a:buFont typeface="Arial" panose="020B0604020202020204" pitchFamily="34" charset="0"/>
              <a:buChar char="•"/>
            </a:pPr>
            <a:r>
              <a:rPr lang="en-GB" dirty="0"/>
              <a:t>Diagram </a:t>
            </a:r>
            <a:r>
              <a:rPr lang="en-GB" dirty="0" err="1"/>
              <a:t>Halbach</a:t>
            </a:r>
            <a:r>
              <a:rPr lang="en-GB" dirty="0"/>
              <a:t>, Germany,  Standard to good quality</a:t>
            </a:r>
          </a:p>
          <a:p>
            <a:pPr indent="-457200">
              <a:buFont typeface="Arial" panose="020B0604020202020204" pitchFamily="34" charset="0"/>
              <a:buChar char="•"/>
            </a:pPr>
            <a:endParaRPr lang="en-GB" dirty="0"/>
          </a:p>
          <a:p>
            <a:pPr indent="-457200">
              <a:buFont typeface="Arial" panose="020B0604020202020204" pitchFamily="34" charset="0"/>
              <a:buChar char="•"/>
            </a:pPr>
            <a:r>
              <a:rPr lang="en-GB" dirty="0" err="1"/>
              <a:t>Pirrone</a:t>
            </a:r>
            <a:r>
              <a:rPr lang="en-GB" dirty="0"/>
              <a:t>, Italy, standard quality, </a:t>
            </a:r>
          </a:p>
          <a:p>
            <a:pPr indent="-457200">
              <a:buFont typeface="Arial" panose="020B0604020202020204" pitchFamily="34" charset="0"/>
              <a:buChar char="•"/>
            </a:pPr>
            <a:endParaRPr lang="en-GB" dirty="0"/>
          </a:p>
          <a:p>
            <a:pPr indent="-457200">
              <a:buFont typeface="Arial" panose="020B0604020202020204" pitchFamily="34" charset="0"/>
              <a:buChar char="•"/>
            </a:pPr>
            <a:r>
              <a:rPr lang="en-GB" dirty="0" err="1"/>
              <a:t>Ca.Mi.Na</a:t>
            </a:r>
            <a:r>
              <a:rPr lang="en-GB" dirty="0"/>
              <a:t>, Italy, low quality, export in EE</a:t>
            </a:r>
          </a:p>
          <a:p>
            <a:pPr indent="-457200">
              <a:buFont typeface="Arial" panose="020B0604020202020204" pitchFamily="34" charset="0"/>
              <a:buChar char="•"/>
            </a:pPr>
            <a:endParaRPr lang="en-GB" dirty="0"/>
          </a:p>
          <a:p>
            <a:pPr indent="-457200">
              <a:buFont typeface="Arial" panose="020B0604020202020204" pitchFamily="34" charset="0"/>
              <a:buChar char="•"/>
            </a:pPr>
            <a:r>
              <a:rPr lang="en-GB" dirty="0" err="1"/>
              <a:t>Chartrite</a:t>
            </a:r>
            <a:r>
              <a:rPr lang="en-GB" dirty="0"/>
              <a:t>, UK</a:t>
            </a:r>
          </a:p>
          <a:p>
            <a:pPr indent="-457200">
              <a:buFont typeface="Arial" panose="020B0604020202020204" pitchFamily="34" charset="0"/>
              <a:buChar char="•"/>
            </a:pPr>
            <a:endParaRPr lang="en-GB" dirty="0"/>
          </a:p>
          <a:p>
            <a:pPr indent="-457200">
              <a:buFont typeface="Arial" panose="020B0604020202020204" pitchFamily="34" charset="0"/>
              <a:buChar char="•"/>
            </a:pPr>
            <a:r>
              <a:rPr lang="en-GB" dirty="0" err="1"/>
              <a:t>Guyot</a:t>
            </a:r>
            <a:r>
              <a:rPr lang="en-GB" dirty="0"/>
              <a:t> </a:t>
            </a:r>
            <a:r>
              <a:rPr lang="en-GB" dirty="0" err="1"/>
              <a:t>Graphco</a:t>
            </a:r>
            <a:r>
              <a:rPr lang="en-GB" dirty="0"/>
              <a:t>, France</a:t>
            </a:r>
          </a:p>
          <a:p>
            <a:pPr indent="-457200">
              <a:buFont typeface="Arial" panose="020B0604020202020204" pitchFamily="34" charset="0"/>
              <a:buChar char="•"/>
            </a:pPr>
            <a:endParaRPr lang="en-GB" dirty="0"/>
          </a:p>
          <a:p>
            <a:pPr indent="-457200">
              <a:buFont typeface="Arial" panose="020B0604020202020204" pitchFamily="34" charset="0"/>
              <a:buChar char="•"/>
            </a:pPr>
            <a:r>
              <a:rPr lang="en-GB" dirty="0" err="1"/>
              <a:t>Diagramma</a:t>
            </a:r>
            <a:r>
              <a:rPr lang="en-GB" dirty="0"/>
              <a:t>, CH</a:t>
            </a:r>
          </a:p>
          <a:p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8095846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5BA6E0-56AD-41E2-A3AE-9A75CAB210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3100" y="3109600"/>
            <a:ext cx="13309958" cy="1122680"/>
          </a:xfrm>
        </p:spPr>
        <p:txBody>
          <a:bodyPr/>
          <a:lstStyle/>
          <a:p>
            <a:r>
              <a:rPr lang="en-GB" sz="13800" dirty="0"/>
              <a:t>Questions?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9CB8867-542F-448B-8344-8CB1FF100C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BDE47-A11E-FE42-85BD-DB007C88386C}" type="slidenum">
              <a:rPr lang="en-US" smtClean="0"/>
              <a:pPr/>
              <a:t>8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0919257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49194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296973" y="1495959"/>
            <a:ext cx="10092944" cy="2413000"/>
          </a:xfrm>
          <a:custGeom>
            <a:avLst/>
            <a:gdLst/>
            <a:ahLst/>
            <a:cxnLst/>
            <a:rect l="l" t="t" r="r" b="b"/>
            <a:pathLst>
              <a:path w="6308090" h="1508125">
                <a:moveTo>
                  <a:pt x="0" y="1507998"/>
                </a:moveTo>
                <a:lnTo>
                  <a:pt x="6307836" y="1507998"/>
                </a:lnTo>
                <a:lnTo>
                  <a:pt x="6307836" y="0"/>
                </a:lnTo>
                <a:lnTo>
                  <a:pt x="0" y="0"/>
                </a:lnTo>
                <a:lnTo>
                  <a:pt x="0" y="1507998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3" name="object 3"/>
          <p:cNvSpPr/>
          <p:nvPr/>
        </p:nvSpPr>
        <p:spPr>
          <a:xfrm>
            <a:off x="2296973" y="4091636"/>
            <a:ext cx="10092944" cy="2400808"/>
          </a:xfrm>
          <a:custGeom>
            <a:avLst/>
            <a:gdLst/>
            <a:ahLst/>
            <a:cxnLst/>
            <a:rect l="l" t="t" r="r" b="b"/>
            <a:pathLst>
              <a:path w="6308090" h="1500504">
                <a:moveTo>
                  <a:pt x="0" y="1500377"/>
                </a:moveTo>
                <a:lnTo>
                  <a:pt x="6307836" y="1500377"/>
                </a:lnTo>
                <a:lnTo>
                  <a:pt x="6307836" y="0"/>
                </a:lnTo>
                <a:lnTo>
                  <a:pt x="0" y="0"/>
                </a:lnTo>
                <a:lnTo>
                  <a:pt x="0" y="1500377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4" name="object 4"/>
          <p:cNvSpPr/>
          <p:nvPr/>
        </p:nvSpPr>
        <p:spPr>
          <a:xfrm>
            <a:off x="3557625" y="1538631"/>
            <a:ext cx="4124554" cy="219333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2343706" y="464945"/>
            <a:ext cx="10701733" cy="600164"/>
          </a:xfrm>
          <a:prstGeom prst="rect">
            <a:avLst/>
          </a:prstGeom>
        </p:spPr>
        <p:txBody>
          <a:bodyPr spcFirstLastPara="1" vert="horz" wrap="square" lIns="0" tIns="20320" rIns="0" bIns="0" rtlCol="0" anchor="ctr" anchorCtr="0">
            <a:spAutoFit/>
          </a:bodyPr>
          <a:lstStyle/>
          <a:p>
            <a:pPr marL="20320">
              <a:lnSpc>
                <a:spcPct val="100000"/>
              </a:lnSpc>
              <a:spcBef>
                <a:spcPts val="160"/>
              </a:spcBef>
            </a:pPr>
            <a:r>
              <a:rPr spc="-16" dirty="0"/>
              <a:t>What’s </a:t>
            </a:r>
            <a:r>
              <a:rPr u="none" dirty="0"/>
              <a:t>the</a:t>
            </a:r>
            <a:r>
              <a:rPr spc="-96" dirty="0"/>
              <a:t> </a:t>
            </a:r>
            <a:r>
              <a:rPr spc="-8" dirty="0"/>
              <a:t>difference</a:t>
            </a:r>
            <a:r>
              <a:rPr lang="en-GB" spc="-8" dirty="0"/>
              <a:t> with the below</a:t>
            </a:r>
            <a:r>
              <a:rPr spc="-8" dirty="0"/>
              <a:t>?</a:t>
            </a:r>
          </a:p>
        </p:txBody>
      </p:sp>
      <p:sp>
        <p:nvSpPr>
          <p:cNvPr id="6" name="object 6"/>
          <p:cNvSpPr/>
          <p:nvPr/>
        </p:nvSpPr>
        <p:spPr>
          <a:xfrm>
            <a:off x="10173006" y="1495958"/>
            <a:ext cx="1669083" cy="278465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7" name="object 7"/>
          <p:cNvSpPr/>
          <p:nvPr/>
        </p:nvSpPr>
        <p:spPr>
          <a:xfrm>
            <a:off x="10438790" y="4461052"/>
            <a:ext cx="1550821" cy="203118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8" name="object 8"/>
          <p:cNvSpPr/>
          <p:nvPr/>
        </p:nvSpPr>
        <p:spPr>
          <a:xfrm>
            <a:off x="7171335" y="1538630"/>
            <a:ext cx="1444750" cy="235793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9" name="object 9"/>
          <p:cNvSpPr/>
          <p:nvPr/>
        </p:nvSpPr>
        <p:spPr>
          <a:xfrm>
            <a:off x="5155997" y="4231842"/>
            <a:ext cx="1382573" cy="2037283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0" name="object 10"/>
          <p:cNvSpPr/>
          <p:nvPr/>
        </p:nvSpPr>
        <p:spPr>
          <a:xfrm>
            <a:off x="7153046" y="4168443"/>
            <a:ext cx="1498395" cy="2147011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1" name="object 11"/>
          <p:cNvSpPr txBox="1"/>
          <p:nvPr/>
        </p:nvSpPr>
        <p:spPr>
          <a:xfrm>
            <a:off x="2422956" y="1589836"/>
            <a:ext cx="1668270" cy="352917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20320">
              <a:spcBef>
                <a:spcPts val="160"/>
              </a:spcBef>
            </a:pPr>
            <a:r>
              <a:rPr sz="2160" spc="-8" dirty="0">
                <a:solidFill>
                  <a:srgbClr val="00AF50"/>
                </a:solidFill>
                <a:latin typeface="Verdana"/>
                <a:cs typeface="Verdana"/>
              </a:rPr>
              <a:t>Multi-Link®</a:t>
            </a:r>
            <a:endParaRPr sz="2160">
              <a:latin typeface="Verdana"/>
              <a:cs typeface="Verdan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296973" y="4295646"/>
            <a:ext cx="10092944" cy="685316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145288" marR="8506968">
              <a:spcBef>
                <a:spcPts val="160"/>
              </a:spcBef>
            </a:pPr>
            <a:r>
              <a:rPr sz="2160" dirty="0">
                <a:solidFill>
                  <a:srgbClr val="006FC0"/>
                </a:solidFill>
                <a:latin typeface="Verdana"/>
                <a:cs typeface="Verdana"/>
              </a:rPr>
              <a:t>300</a:t>
            </a:r>
            <a:r>
              <a:rPr sz="2160" spc="-152" dirty="0">
                <a:solidFill>
                  <a:srgbClr val="006FC0"/>
                </a:solidFill>
                <a:latin typeface="Verdana"/>
                <a:cs typeface="Verdana"/>
              </a:rPr>
              <a:t> </a:t>
            </a:r>
            <a:r>
              <a:rPr sz="2160" dirty="0">
                <a:solidFill>
                  <a:srgbClr val="006FC0"/>
                </a:solidFill>
                <a:latin typeface="Verdana"/>
                <a:cs typeface="Verdana"/>
              </a:rPr>
              <a:t>series  </a:t>
            </a:r>
            <a:r>
              <a:rPr sz="2160" spc="-8" dirty="0">
                <a:solidFill>
                  <a:srgbClr val="006FC0"/>
                </a:solidFill>
                <a:latin typeface="Verdana"/>
                <a:cs typeface="Verdana"/>
              </a:rPr>
              <a:t>(Nicolay)</a:t>
            </a:r>
            <a:endParaRPr sz="2160">
              <a:latin typeface="Verdana"/>
              <a:cs typeface="Verdana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9295181" y="1786128"/>
            <a:ext cx="568146" cy="176418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4" name="object 14"/>
          <p:cNvSpPr/>
          <p:nvPr/>
        </p:nvSpPr>
        <p:spPr>
          <a:xfrm>
            <a:off x="9295181" y="4426915"/>
            <a:ext cx="568146" cy="1764182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40"/>
          </a:p>
        </p:txBody>
      </p:sp>
      <p:sp>
        <p:nvSpPr>
          <p:cNvPr id="15" name="object 15"/>
          <p:cNvSpPr txBox="1"/>
          <p:nvPr/>
        </p:nvSpPr>
        <p:spPr>
          <a:xfrm>
            <a:off x="8484818" y="7637661"/>
            <a:ext cx="3445256" cy="247247"/>
          </a:xfrm>
          <a:prstGeom prst="rect">
            <a:avLst/>
          </a:prstGeom>
        </p:spPr>
        <p:txBody>
          <a:bodyPr vert="horz" wrap="square" lIns="0" tIns="1016" rIns="0" bIns="0" rtlCol="0">
            <a:spAutoFit/>
          </a:bodyPr>
          <a:lstStyle/>
          <a:p>
            <a:pPr marL="20320">
              <a:spcBef>
                <a:spcPts val="8"/>
              </a:spcBef>
            </a:pPr>
            <a:r>
              <a:rPr sz="1600" b="1" dirty="0">
                <a:solidFill>
                  <a:srgbClr val="F1F1F1"/>
                </a:solidFill>
              </a:rPr>
              <a:t>CONFIDENTIAL – Internal Use</a:t>
            </a:r>
            <a:r>
              <a:rPr sz="1600" b="1" spc="-216" dirty="0">
                <a:solidFill>
                  <a:srgbClr val="F1F1F1"/>
                </a:solidFill>
              </a:rPr>
              <a:t> </a:t>
            </a:r>
            <a:r>
              <a:rPr sz="1600" b="1" dirty="0">
                <a:solidFill>
                  <a:srgbClr val="F1F1F1"/>
                </a:solidFill>
              </a:rPr>
              <a:t>Only</a:t>
            </a:r>
            <a:endParaRPr sz="160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yaire Brand Refresh Jan 2021_v04">
  <a:themeElements>
    <a:clrScheme name="Vyaire Color Palette ">
      <a:dk1>
        <a:srgbClr val="2C2B94"/>
      </a:dk1>
      <a:lt1>
        <a:srgbClr val="FFFFFF"/>
      </a:lt1>
      <a:dk2>
        <a:srgbClr val="A7A9AC"/>
      </a:dk2>
      <a:lt2>
        <a:srgbClr val="BCBEC0"/>
      </a:lt2>
      <a:accent1>
        <a:srgbClr val="636569"/>
      </a:accent1>
      <a:accent2>
        <a:srgbClr val="EA0029"/>
      </a:accent2>
      <a:accent3>
        <a:srgbClr val="2C2B94"/>
      </a:accent3>
      <a:accent4>
        <a:srgbClr val="A7A9AC"/>
      </a:accent4>
      <a:accent5>
        <a:srgbClr val="982324"/>
      </a:accent5>
      <a:accent6>
        <a:srgbClr val="130F32"/>
      </a:accent6>
      <a:hlink>
        <a:srgbClr val="F1F2F2"/>
      </a:hlink>
      <a:folHlink>
        <a:srgbClr val="00000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yaire_Brand Refresh_PPT Template" id="{BA3599A1-9535-4214-9BB8-D0A8934EA374}" vid="{DFC47FF4-57CE-48CC-B8C7-6E3E95BC70C1}"/>
    </a:ext>
  </a:extLst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year xmlns="7ed94b5b-1882-46fe-9106-de467aea5556">2017</docyear>
    <doctype xmlns="7ed94b5b-1882-46fe-9106-de467aea5556">General</doctype>
    <SharedWithUsers xmlns="1495a946-f05e-41c3-bba2-443196eff081">
      <UserInfo>
        <DisplayName>Beck, Tamara</DisplayName>
        <AccountId>1112</AccountId>
        <AccountType/>
      </UserInfo>
      <UserInfo>
        <DisplayName>Remus, Christian</DisplayName>
        <AccountId>3254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Vyaire Department Forms" ma:contentTypeID="0x0101004DA082638FFE584A957756C19F5BAF930012631B0B92E8AD4D9AC105A348DE7363" ma:contentTypeVersion="" ma:contentTypeDescription="" ma:contentTypeScope="" ma:versionID="b89e783e14f2f9a586723445403751bb">
  <xsd:schema xmlns:xsd="http://www.w3.org/2001/XMLSchema" xmlns:xs="http://www.w3.org/2001/XMLSchema" xmlns:p="http://schemas.microsoft.com/office/2006/metadata/properties" xmlns:ns2="7ed94b5b-1882-46fe-9106-de467aea5556" xmlns:ns3="f59eac51-2399-43d4-8eb1-a5541cca5b22" xmlns:ns4="1495a946-f05e-41c3-bba2-443196eff081" targetNamespace="http://schemas.microsoft.com/office/2006/metadata/properties" ma:root="true" ma:fieldsID="d907df139abec5702553f89d52568c55" ns2:_="" ns3:_="" ns4:_="">
    <xsd:import namespace="7ed94b5b-1882-46fe-9106-de467aea5556"/>
    <xsd:import namespace="f59eac51-2399-43d4-8eb1-a5541cca5b22"/>
    <xsd:import namespace="1495a946-f05e-41c3-bba2-443196eff081"/>
    <xsd:element name="properties">
      <xsd:complexType>
        <xsd:sequence>
          <xsd:element name="documentManagement">
            <xsd:complexType>
              <xsd:all>
                <xsd:element ref="ns2:doctype" minOccurs="0"/>
                <xsd:element ref="ns2:docyear" minOccurs="0"/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ed94b5b-1882-46fe-9106-de467aea5556" elementFormDefault="qualified">
    <xsd:import namespace="http://schemas.microsoft.com/office/2006/documentManagement/types"/>
    <xsd:import namespace="http://schemas.microsoft.com/office/infopath/2007/PartnerControls"/>
    <xsd:element name="doctype" ma:index="8" nillable="true" ma:displayName="Document Type" ma:default="General" ma:format="Dropdown" ma:internalName="doctype">
      <xsd:simpleType>
        <xsd:restriction base="dms:Choice">
          <xsd:enumeration value="General"/>
          <xsd:enumeration value="Training"/>
        </xsd:restriction>
      </xsd:simpleType>
    </xsd:element>
    <xsd:element name="docyear" ma:index="9" nillable="true" ma:displayName="Document Year" ma:default="2017" ma:format="Dropdown" ma:internalName="docyear">
      <xsd:simpleType>
        <xsd:restriction base="dms:Choice">
          <xsd:enumeration value="2017"/>
          <xsd:enumeration value="2016"/>
          <xsd:enumeration value="2018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59eac51-2399-43d4-8eb1-a5541cca5b2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495a946-f05e-41c3-bba2-443196eff081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12CA583-CDA0-40A1-AEAD-AF81E1CC373A}">
  <ds:schemaRefs>
    <ds:schemaRef ds:uri="http://schemas.microsoft.com/office/2006/metadata/properties"/>
    <ds:schemaRef ds:uri="http://schemas.microsoft.com/office/infopath/2007/PartnerControls"/>
    <ds:schemaRef ds:uri="7ed94b5b-1882-46fe-9106-de467aea5556"/>
    <ds:schemaRef ds:uri="1495a946-f05e-41c3-bba2-443196eff081"/>
  </ds:schemaRefs>
</ds:datastoreItem>
</file>

<file path=customXml/itemProps2.xml><?xml version="1.0" encoding="utf-8"?>
<ds:datastoreItem xmlns:ds="http://schemas.openxmlformats.org/officeDocument/2006/customXml" ds:itemID="{6FACA868-2A18-497B-A1A4-D69CFC00AAC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37CA7A4-76A5-4469-BA73-764AD05BC30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ed94b5b-1882-46fe-9106-de467aea5556"/>
    <ds:schemaRef ds:uri="f59eac51-2399-43d4-8eb1-a5541cca5b22"/>
    <ds:schemaRef ds:uri="1495a946-f05e-41c3-bba2-443196eff08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Vyaire_Brand Refresh_PPT Template_bg</Template>
  <TotalTime>3013</TotalTime>
  <Words>4244</Words>
  <Application>Microsoft Office PowerPoint</Application>
  <PresentationFormat>Custom</PresentationFormat>
  <Paragraphs>800</Paragraphs>
  <Slides>87</Slides>
  <Notes>14</Notes>
  <HiddenSlides>1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87</vt:i4>
      </vt:variant>
    </vt:vector>
  </HeadingPairs>
  <TitlesOfParts>
    <vt:vector size="100" baseType="lpstr">
      <vt:lpstr>Arial</vt:lpstr>
      <vt:lpstr>Arial Narrow</vt:lpstr>
      <vt:lpstr>Calibri</vt:lpstr>
      <vt:lpstr>GE Inspira</vt:lpstr>
      <vt:lpstr>GE Inspira Pitch</vt:lpstr>
      <vt:lpstr>Symbol</vt:lpstr>
      <vt:lpstr>Times New Roman</vt:lpstr>
      <vt:lpstr>Verdana</vt:lpstr>
      <vt:lpstr>Wingdings</vt:lpstr>
      <vt:lpstr>Vyaire Brand Refresh Jan 2021_v04</vt:lpstr>
      <vt:lpstr>think-cell Slide</vt:lpstr>
      <vt:lpstr>Image</vt:lpstr>
      <vt:lpstr>Photo Editor Photo</vt:lpstr>
      <vt:lpstr>DCAR/ECG Training</vt:lpstr>
      <vt:lpstr>PowerPoint Presentation</vt:lpstr>
      <vt:lpstr>Cardiology</vt:lpstr>
      <vt:lpstr>Cardiology divided into 2 areas:</vt:lpstr>
      <vt:lpstr>What is ECG</vt:lpstr>
      <vt:lpstr>ECG Monitoring</vt:lpstr>
      <vt:lpstr>PowerPoint Presentation</vt:lpstr>
      <vt:lpstr>Set up for ECG on Monitors</vt:lpstr>
      <vt:lpstr>What’s the difference with the below?</vt:lpstr>
      <vt:lpstr>300 series cables and leadwires</vt:lpstr>
      <vt:lpstr>Multi-Link</vt:lpstr>
      <vt:lpstr>Variations on leadwires</vt:lpstr>
      <vt:lpstr>PowerPoint Presentation</vt:lpstr>
      <vt:lpstr>Reusable or SPU How confident are you?</vt:lpstr>
      <vt:lpstr>Literature review (SPU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CG leads carrying bacteria coming in contact with open wounds constitute a cross-contamination pathway</vt:lpstr>
      <vt:lpstr>Disposable vs. reusable</vt:lpstr>
      <vt:lpstr>Risks across care settings</vt:lpstr>
      <vt:lpstr>SPU – is there demand?</vt:lpstr>
      <vt:lpstr>Competitors</vt:lpstr>
      <vt:lpstr>Vyaire SPU ECG Product Details</vt:lpstr>
      <vt:lpstr>Steps to generate SPU customer interest</vt:lpstr>
      <vt:lpstr>PowerPoint Presentation</vt:lpstr>
      <vt:lpstr>Which solution to pitch and where?</vt:lpstr>
      <vt:lpstr>PowerPoint Presentation</vt:lpstr>
      <vt:lpstr>Multi-Link X2</vt:lpstr>
      <vt:lpstr>Multi-Link X2</vt:lpstr>
      <vt:lpstr>Simple</vt:lpstr>
      <vt:lpstr>Versatile</vt:lpstr>
      <vt:lpstr>PowerPoint Presentation</vt:lpstr>
      <vt:lpstr>And Remember!</vt:lpstr>
      <vt:lpstr>Diagnostic Cardiology  (DCAR) ECG</vt:lpstr>
      <vt:lpstr>Cardiology</vt:lpstr>
      <vt:lpstr>How is it done? </vt:lpstr>
      <vt:lpstr>DCAR Systems</vt:lpstr>
      <vt:lpstr>PowerPoint Presentation</vt:lpstr>
      <vt:lpstr>PowerPoint Presentation</vt:lpstr>
      <vt:lpstr>Resting ECG</vt:lpstr>
      <vt:lpstr>Resting ECG Electrode Placement</vt:lpstr>
      <vt:lpstr>GE Resting ECG Systems</vt:lpstr>
      <vt:lpstr>Cables &amp; Leadwires</vt:lpstr>
      <vt:lpstr>Reusable ECG Electrodes – Cream and gel - EOL </vt:lpstr>
      <vt:lpstr>Exercise/Stress Testing</vt:lpstr>
      <vt:lpstr>Exercise/Stress Testing</vt:lpstr>
      <vt:lpstr>Exercise/Stress Testing</vt:lpstr>
      <vt:lpstr>Exercise/Stress Testing</vt:lpstr>
      <vt:lpstr>Cables &amp; Leadwires</vt:lpstr>
      <vt:lpstr>Holter Monitoring</vt:lpstr>
      <vt:lpstr>Holter ECG - EOL</vt:lpstr>
      <vt:lpstr>Holter Monitoring - EOL</vt:lpstr>
      <vt:lpstr>Holter Cables and Leadwires - EOL</vt:lpstr>
      <vt:lpstr>Holter Hook-Up Kits &amp; Pouches - EOL</vt:lpstr>
      <vt:lpstr>Electrodes</vt:lpstr>
      <vt:lpstr>What to compare</vt:lpstr>
      <vt:lpstr>From us: two lines</vt:lpstr>
      <vt:lpstr>Materials</vt:lpstr>
      <vt:lpstr>PowerPoint Presentation</vt:lpstr>
      <vt:lpstr>Size – need different size options</vt:lpstr>
      <vt:lpstr>Connection</vt:lpstr>
      <vt:lpstr>Our pre-attached leadwires</vt:lpstr>
      <vt:lpstr>Radiotranslucent ECG Electrodes</vt:lpstr>
      <vt:lpstr>Radiolucency/MRI</vt:lpstr>
      <vt:lpstr>Disposable Resting ECG Electrodes</vt:lpstr>
      <vt:lpstr>GE Disposable Resting ECG Electrodes</vt:lpstr>
      <vt:lpstr>Silver Mactrode Plus  … Strong Adhesion</vt:lpstr>
      <vt:lpstr>BabyMAC … Improved Design</vt:lpstr>
      <vt:lpstr>BabyMAC … for the Smallest Patient</vt:lpstr>
      <vt:lpstr>Disposable ECG Electrode Competition</vt:lpstr>
      <vt:lpstr>Electrodes – choose the right one!</vt:lpstr>
      <vt:lpstr>Two electrode product lines</vt:lpstr>
      <vt:lpstr>ECG Recording Paper</vt:lpstr>
      <vt:lpstr>Our paper portfolio is very  complex but complete …</vt:lpstr>
      <vt:lpstr>… but we have a paper brochure to help  you!</vt:lpstr>
      <vt:lpstr>ECG Recording Papers</vt:lpstr>
      <vt:lpstr>Paper Properties</vt:lpstr>
      <vt:lpstr>Paper Properties</vt:lpstr>
      <vt:lpstr>Recording Papers Marquette ECG Carts</vt:lpstr>
      <vt:lpstr>Recording Papers Marquette ECG Carts</vt:lpstr>
      <vt:lpstr>Recording Papers Marquette ECG Carts</vt:lpstr>
      <vt:lpstr>Key Cardiology Paper Competitor in EMEA </vt:lpstr>
      <vt:lpstr>Questions?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upporting the fight against COVID</dc:title>
  <dc:creator>Green, Ben</dc:creator>
  <cp:lastModifiedBy>Helga Gasco Torralba</cp:lastModifiedBy>
  <cp:revision>52</cp:revision>
  <dcterms:created xsi:type="dcterms:W3CDTF">2021-06-21T14:35:06Z</dcterms:created>
  <dcterms:modified xsi:type="dcterms:W3CDTF">2023-07-31T09:31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DA082638FFE584A957756C19F5BAF930012631B0B92E8AD4D9AC105A348DE7363</vt:lpwstr>
  </property>
</Properties>
</file>